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5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6.xml" ContentType="application/vnd.openxmlformats-officedocument.theme+xml"/>
  <Override PartName="/ppt/tags/tag41.xml" ContentType="application/vnd.openxmlformats-officedocument.presentationml.tags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7.xml" ContentType="application/vnd.openxmlformats-officedocument.them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8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9.xml" ContentType="application/vnd.openxmlformats-officedocument.them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heme/theme10.xml" ContentType="application/vnd.openxmlformats-officedocument.theme+xml"/>
  <Override PartName="/ppt/theme/theme11.xml" ContentType="application/vnd.openxmlformats-officedocument.theme+xml"/>
  <Override PartName="/ppt/tags/tag7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812" r:id="rId5"/>
    <p:sldMasterId id="2147483896" r:id="rId6"/>
    <p:sldMasterId id="2147483927" r:id="rId7"/>
    <p:sldMasterId id="2147483948" r:id="rId8"/>
    <p:sldMasterId id="2147483965" r:id="rId9"/>
    <p:sldMasterId id="2147483971" r:id="rId10"/>
    <p:sldMasterId id="2147483977" r:id="rId11"/>
    <p:sldMasterId id="2147483992" r:id="rId12"/>
  </p:sldMasterIdLst>
  <p:notesMasterIdLst>
    <p:notesMasterId r:id="rId22"/>
  </p:notesMasterIdLst>
  <p:handoutMasterIdLst>
    <p:handoutMasterId r:id="rId23"/>
  </p:handoutMasterIdLst>
  <p:sldIdLst>
    <p:sldId id="1021" r:id="rId13"/>
    <p:sldId id="1050" r:id="rId14"/>
    <p:sldId id="1054" r:id="rId15"/>
    <p:sldId id="1052" r:id="rId16"/>
    <p:sldId id="1051" r:id="rId17"/>
    <p:sldId id="1057" r:id="rId18"/>
    <p:sldId id="1055" r:id="rId19"/>
    <p:sldId id="1056" r:id="rId20"/>
    <p:sldId id="1001" r:id="rId21"/>
  </p:sldIdLst>
  <p:sldSz cx="12192000" cy="6858000"/>
  <p:notesSz cx="6858000" cy="9144000"/>
  <p:custDataLst>
    <p:tags r:id="rId24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77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obias Fichter" initials="TF" lastIdx="3" clrIdx="0">
    <p:extLst>
      <p:ext uri="{19B8F6BF-5375-455C-9EA6-DF929625EA0E}">
        <p15:presenceInfo xmlns:p15="http://schemas.microsoft.com/office/powerpoint/2012/main" userId="Tobias Fichter" providerId="None"/>
      </p:ext>
    </p:extLst>
  </p:cmAuthor>
  <p:cmAuthor id="2" name="Ana Lucia Amazo Blanco" initials="ALAB" lastIdx="1" clrIdx="1">
    <p:extLst>
      <p:ext uri="{19B8F6BF-5375-455C-9EA6-DF929625EA0E}">
        <p15:presenceInfo xmlns:p15="http://schemas.microsoft.com/office/powerpoint/2012/main" userId="Ana Lucia Amazo Blanco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35C5B"/>
    <a:srgbClr val="FF9900"/>
    <a:srgbClr val="FFFFFF"/>
    <a:srgbClr val="651D32"/>
    <a:srgbClr val="BA0C2F"/>
    <a:srgbClr val="E7E7E5"/>
    <a:srgbClr val="002F6C"/>
    <a:srgbClr val="D9D7D3"/>
    <a:srgbClr val="CFCDC9"/>
    <a:srgbClr val="6C646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168" autoAdjust="0"/>
    <p:restoredTop sz="85029" autoAdjust="0"/>
  </p:normalViewPr>
  <p:slideViewPr>
    <p:cSldViewPr snapToObjects="1">
      <p:cViewPr varScale="1">
        <p:scale>
          <a:sx n="67" d="100"/>
          <a:sy n="67" d="100"/>
        </p:scale>
        <p:origin x="600" y="48"/>
      </p:cViewPr>
      <p:guideLst>
        <p:guide orient="horz" pos="2160"/>
        <p:guide pos="3776"/>
      </p:guideLst>
    </p:cSldViewPr>
  </p:slideViewPr>
  <p:outlineViewPr>
    <p:cViewPr>
      <p:scale>
        <a:sx n="33" d="100"/>
        <a:sy n="33" d="100"/>
      </p:scale>
      <p:origin x="0" y="-601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0332"/>
    </p:cViewPr>
  </p:sorterViewPr>
  <p:notesViewPr>
    <p:cSldViewPr snapToObjects="1" showGuides="1">
      <p:cViewPr varScale="1">
        <p:scale>
          <a:sx n="87" d="100"/>
          <a:sy n="87" d="100"/>
        </p:scale>
        <p:origin x="3840" y="9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9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5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3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7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2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4D9E48-5E7F-D24C-87D5-695B18367D24}" type="datetimeFigureOut">
              <a:rPr lang="en-US" smtClean="0"/>
              <a:t>7/3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CB10C2-C6DD-5A4A-BF1B-B012B8BA428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79759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86357CE-B3EB-1B4A-84E5-C1E2DF427ABD}" type="datetimeFigureOut">
              <a:rPr lang="en-US" smtClean="0"/>
              <a:t>7/3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4A558B-E4E9-A94A-B9C1-029E46A76AB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893798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5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6.jpeg"/><Relationship Id="rId2" Type="http://schemas.openxmlformats.org/officeDocument/2006/relationships/tags" Target="../tags/tag59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.bin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66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15.png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67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68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69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70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71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72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7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7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3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6.jpeg"/><Relationship Id="rId2" Type="http://schemas.openxmlformats.org/officeDocument/2006/relationships/tags" Target="../tags/tag7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4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8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9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20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21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2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6.jpeg"/><Relationship Id="rId2" Type="http://schemas.openxmlformats.org/officeDocument/2006/relationships/tags" Target="../tags/tag2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31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5.png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32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33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34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35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36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37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3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9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6.jpeg"/><Relationship Id="rId2" Type="http://schemas.openxmlformats.org/officeDocument/2006/relationships/tags" Target="../tags/tag4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1.png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43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7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6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1.png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50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5.png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51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52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53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54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55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56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5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Full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Placeholder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200" y="153462"/>
            <a:ext cx="11785600" cy="6553200"/>
          </a:xfrm>
          <a:prstGeom prst="rect">
            <a:avLst/>
          </a:prstGeom>
          <a:solidFill>
            <a:srgbClr val="CFCDC9"/>
          </a:solidFill>
        </p:spPr>
      </p:pic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914400" y="2133600"/>
            <a:ext cx="7315200" cy="1600200"/>
          </a:xfrm>
          <a:effectLst>
            <a:outerShdw blurRad="254000" dir="2700000" algn="tl" rotWithShape="0">
              <a:srgbClr val="000000">
                <a:alpha val="20000"/>
              </a:srgbClr>
            </a:outerShdw>
          </a:effectLst>
        </p:spPr>
        <p:txBody>
          <a:bodyPr anchor="b" anchorCtr="0"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14400" y="4114800"/>
            <a:ext cx="4572000" cy="1600200"/>
          </a:xfrm>
          <a:effectLst>
            <a:outerShdw blurRad="254000" dir="5400000" algn="tl" rotWithShape="0">
              <a:srgbClr val="000000">
                <a:alpha val="40000"/>
              </a:srgbClr>
            </a:outerShdw>
          </a:effectLst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0494089" y="14316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chemeClr val="bg1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pic>
        <p:nvPicPr>
          <p:cNvPr id="15" name="Picture 14" descr="USAID_Logo_White_v02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1740" y="685800"/>
            <a:ext cx="2438400" cy="544010"/>
          </a:xfrm>
          <a:prstGeom prst="rect">
            <a:avLst/>
          </a:prstGeom>
          <a:effectLst>
            <a:outerShdw blurRad="254000" dir="2700000" algn="tl" rotWithShape="0">
              <a:srgbClr val="000000">
                <a:alpha val="2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8830772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Green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04804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182021" y="6365444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rgbClr val="648C1A"/>
              </a:gs>
            </a:gsLst>
            <a:lin ang="10800000" scaled="0"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8"/>
          <p:cNvSpPr txBox="1">
            <a:spLocks/>
          </p:cNvSpPr>
          <p:nvPr userDrawn="1"/>
        </p:nvSpPr>
        <p:spPr>
          <a:xfrm>
            <a:off x="412683" y="6370119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– 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3" name="Picture 13" descr="Mission_Statement_RGB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1" y="6418196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3413962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6901470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Gray Bar_Content+Table/Chart/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304804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85344" y="6365444"/>
            <a:ext cx="58521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fld id="{C0D4A90D-707C-4CFA-8F87-17CF45DE2B45}" type="slidenum">
              <a:rPr sz="900" smtClean="0">
                <a:solidFill>
                  <a:srgbClr val="95D600"/>
                </a:solidFill>
              </a:rPr>
              <a:pPr>
                <a:buClr>
                  <a:srgbClr val="648C1A"/>
                </a:buClr>
              </a:pPr>
              <a:t>‹#›</a:t>
            </a:fld>
            <a:endParaRPr sz="900" dirty="0"/>
          </a:p>
        </p:txBody>
      </p:sp>
      <p:cxnSp>
        <p:nvCxnSpPr>
          <p:cNvPr id="7" name="Straight Connector 6"/>
          <p:cNvCxnSpPr/>
          <p:nvPr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13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87453" y="1403684"/>
            <a:ext cx="11623035" cy="11338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2075105" y="2627336"/>
            <a:ext cx="8056033" cy="431800"/>
          </a:xfrm>
        </p:spPr>
        <p:txBody>
          <a:bodyPr anchor="ctr"/>
          <a:lstStyle>
            <a:lvl1pPr marL="0" indent="0" algn="ctr">
              <a:buNone/>
              <a:defRPr sz="1600" b="1" baseline="0"/>
            </a:lvl1pPr>
          </a:lstStyle>
          <a:p>
            <a:pPr lvl="0"/>
            <a:r>
              <a:rPr lang="en-US" b="1" dirty="0"/>
              <a:t>Insert Table/Chart/Figure Title</a:t>
            </a:r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1"/>
          </p:nvPr>
        </p:nvSpPr>
        <p:spPr>
          <a:xfrm>
            <a:off x="2854258" y="3148935"/>
            <a:ext cx="6470185" cy="266891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2998603" y="5870239"/>
            <a:ext cx="2400300" cy="219075"/>
          </a:xfrm>
        </p:spPr>
        <p:txBody>
          <a:bodyPr anchor="ctr"/>
          <a:lstStyle>
            <a:lvl1pPr marL="0" indent="0">
              <a:buNone/>
              <a:defRPr sz="800" i="1" baseline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sz="800" i="1" dirty="0"/>
              <a:t>Insert source</a:t>
            </a:r>
            <a:endParaRPr lang="en-US" dirty="0"/>
          </a:p>
        </p:txBody>
      </p:sp>
      <p:sp>
        <p:nvSpPr>
          <p:cNvPr id="17" name="Text Placeholder 18"/>
          <p:cNvSpPr txBox="1">
            <a:spLocks/>
          </p:cNvSpPr>
          <p:nvPr userDrawn="1"/>
        </p:nvSpPr>
        <p:spPr>
          <a:xfrm>
            <a:off x="412683" y="6370119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r>
              <a:rPr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/ ©ECOFYS, A </a:t>
            </a:r>
            <a:r>
              <a:rPr lang="en-US"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Navigant – A </a:t>
            </a:r>
            <a:r>
              <a:rPr lang="en-US" sz="900" dirty="0" err="1">
                <a:solidFill>
                  <a:srgbClr val="648C1A">
                    <a:lumMod val="60000"/>
                    <a:lumOff val="40000"/>
                  </a:srgbClr>
                </a:solidFill>
              </a:rPr>
              <a:t>Guidehouse</a:t>
            </a:r>
            <a:r>
              <a:rPr lang="en-US"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 Company</a:t>
            </a:r>
            <a:r>
              <a:rPr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 Company. All rights Reserved</a:t>
            </a:r>
          </a:p>
        </p:txBody>
      </p:sp>
      <p:pic>
        <p:nvPicPr>
          <p:cNvPr id="18" name="Picture 13" descr="Mission_Statement_RGB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1" y="6418196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39801751"/>
      </p:ext>
    </p:extLst>
  </p:cSld>
  <p:clrMapOvr>
    <a:masterClrMapping/>
  </p:clrMapOvr>
  <p:hf sldNum="0" hdr="0" dt="0"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_Gray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4" name="Text Placeholder 18"/>
          <p:cNvSpPr txBox="1">
            <a:spLocks/>
          </p:cNvSpPr>
          <p:nvPr/>
        </p:nvSpPr>
        <p:spPr>
          <a:xfrm>
            <a:off x="412683" y="6370119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r>
              <a:rPr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/ ©2016 </a:t>
            </a:r>
            <a:r>
              <a:rPr lang="en-US"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Navigant – A </a:t>
            </a:r>
            <a:r>
              <a:rPr lang="en-US" sz="900" dirty="0" err="1">
                <a:solidFill>
                  <a:srgbClr val="648C1A">
                    <a:lumMod val="60000"/>
                    <a:lumOff val="40000"/>
                  </a:srgbClr>
                </a:solidFill>
              </a:rPr>
              <a:t>Guidehouse</a:t>
            </a:r>
            <a:r>
              <a:rPr lang="en-US"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 Company</a:t>
            </a:r>
            <a:r>
              <a:rPr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 Consulting, Inc. All rights Reserved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304804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/>
        </p:nvSpPr>
        <p:spPr>
          <a:xfrm>
            <a:off x="85344" y="6365444"/>
            <a:ext cx="58521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fld id="{C0D4A90D-707C-4CFA-8F87-17CF45DE2B45}" type="slidenum">
              <a:rPr sz="900" smtClean="0">
                <a:solidFill>
                  <a:srgbClr val="95D600"/>
                </a:solidFill>
              </a:rPr>
              <a:pPr>
                <a:buClr>
                  <a:srgbClr val="648C1A"/>
                </a:buClr>
              </a:pPr>
              <a:t>‹#›</a:t>
            </a:fld>
            <a:endParaRPr sz="900" dirty="0"/>
          </a:p>
        </p:txBody>
      </p:sp>
      <p:cxnSp>
        <p:nvCxnSpPr>
          <p:cNvPr id="7" name="Straight Connector 6"/>
          <p:cNvCxnSpPr/>
          <p:nvPr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1" y="6400190"/>
            <a:ext cx="1303209" cy="168518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13" name="Rectangle 1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304804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8"/>
          <p:cNvSpPr txBox="1">
            <a:spLocks/>
          </p:cNvSpPr>
          <p:nvPr userDrawn="1"/>
        </p:nvSpPr>
        <p:spPr>
          <a:xfrm>
            <a:off x="182021" y="6365444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fld id="{C0D4A90D-707C-4CFA-8F87-17CF45DE2B45}" type="slidenum">
              <a:rPr sz="900" smtClean="0">
                <a:solidFill>
                  <a:srgbClr val="95D600"/>
                </a:solidFill>
              </a:rPr>
              <a:pPr>
                <a:buClr>
                  <a:srgbClr val="648C1A"/>
                </a:buClr>
              </a:pPr>
              <a:t>‹#›</a:t>
            </a:fld>
            <a:endParaRPr sz="900" dirty="0"/>
          </a:p>
        </p:txBody>
      </p:sp>
      <p:cxnSp>
        <p:nvCxnSpPr>
          <p:cNvPr id="17" name="Straight Connector 1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" name="Rectangle 18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20" name="Rectangle 19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21" name="Text Placeholder 18"/>
          <p:cNvSpPr txBox="1">
            <a:spLocks/>
          </p:cNvSpPr>
          <p:nvPr userDrawn="1"/>
        </p:nvSpPr>
        <p:spPr>
          <a:xfrm>
            <a:off x="412683" y="6370119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r>
              <a:rPr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/ ©ECOFYS, A </a:t>
            </a:r>
            <a:r>
              <a:rPr lang="en-US"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Navigant – A </a:t>
            </a:r>
            <a:r>
              <a:rPr lang="en-US" sz="900" dirty="0" err="1">
                <a:solidFill>
                  <a:srgbClr val="648C1A">
                    <a:lumMod val="60000"/>
                    <a:lumOff val="40000"/>
                  </a:srgbClr>
                </a:solidFill>
              </a:rPr>
              <a:t>Guidehouse</a:t>
            </a:r>
            <a:r>
              <a:rPr lang="en-US"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 Company</a:t>
            </a:r>
            <a:r>
              <a:rPr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 Company. All rights Reserved</a:t>
            </a:r>
          </a:p>
        </p:txBody>
      </p:sp>
      <p:pic>
        <p:nvPicPr>
          <p:cNvPr id="22" name="Picture 13" descr="Mission_Statement_RGB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1" y="6418196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7533695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396" y="3692"/>
            <a:ext cx="12201685" cy="6854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>
          <a:xfrm>
            <a:off x="-11936" y="-3148"/>
            <a:ext cx="11931119" cy="6867762"/>
          </a:xfrm>
          <a:custGeom>
            <a:avLst/>
            <a:gdLst>
              <a:gd name="connsiteX0" fmla="*/ 1643975 w 8501975"/>
              <a:gd name="connsiteY0" fmla="*/ 0 h 5175115"/>
              <a:gd name="connsiteX1" fmla="*/ 8501975 w 8501975"/>
              <a:gd name="connsiteY1" fmla="*/ 19455 h 5175115"/>
              <a:gd name="connsiteX2" fmla="*/ 4289898 w 8501975"/>
              <a:gd name="connsiteY2" fmla="*/ 5175115 h 5175115"/>
              <a:gd name="connsiteX3" fmla="*/ 0 w 8501975"/>
              <a:gd name="connsiteY3" fmla="*/ 5175115 h 5175115"/>
              <a:gd name="connsiteX4" fmla="*/ 0 w 8501975"/>
              <a:gd name="connsiteY4" fmla="*/ 4027251 h 5175115"/>
              <a:gd name="connsiteX5" fmla="*/ 1643975 w 8501975"/>
              <a:gd name="connsiteY5" fmla="*/ 0 h 5175115"/>
              <a:gd name="connsiteX0" fmla="*/ 1649126 w 8507126"/>
              <a:gd name="connsiteY0" fmla="*/ 0 h 5175115"/>
              <a:gd name="connsiteX1" fmla="*/ 8507126 w 8507126"/>
              <a:gd name="connsiteY1" fmla="*/ 19455 h 5175115"/>
              <a:gd name="connsiteX2" fmla="*/ 4295049 w 8507126"/>
              <a:gd name="connsiteY2" fmla="*/ 5175115 h 5175115"/>
              <a:gd name="connsiteX3" fmla="*/ 5151 w 8507126"/>
              <a:gd name="connsiteY3" fmla="*/ 5175115 h 5175115"/>
              <a:gd name="connsiteX4" fmla="*/ 0 w 8507126"/>
              <a:gd name="connsiteY4" fmla="*/ 4037554 h 5175115"/>
              <a:gd name="connsiteX5" fmla="*/ 1649126 w 8507126"/>
              <a:gd name="connsiteY5" fmla="*/ 0 h 5175115"/>
              <a:gd name="connsiteX0" fmla="*/ 1649127 w 8507127"/>
              <a:gd name="connsiteY0" fmla="*/ 0 h 5175115"/>
              <a:gd name="connsiteX1" fmla="*/ 8507127 w 8507127"/>
              <a:gd name="connsiteY1" fmla="*/ 19455 h 5175115"/>
              <a:gd name="connsiteX2" fmla="*/ 4295050 w 8507127"/>
              <a:gd name="connsiteY2" fmla="*/ 5175115 h 5175115"/>
              <a:gd name="connsiteX3" fmla="*/ 0 w 8507127"/>
              <a:gd name="connsiteY3" fmla="*/ 5175115 h 5175115"/>
              <a:gd name="connsiteX4" fmla="*/ 1 w 8507127"/>
              <a:gd name="connsiteY4" fmla="*/ 4037554 h 5175115"/>
              <a:gd name="connsiteX5" fmla="*/ 1649127 w 8507127"/>
              <a:gd name="connsiteY5" fmla="*/ 0 h 5175115"/>
              <a:gd name="connsiteX0" fmla="*/ 1690339 w 8507127"/>
              <a:gd name="connsiteY0" fmla="*/ 34637 h 5155660"/>
              <a:gd name="connsiteX1" fmla="*/ 8507127 w 8507127"/>
              <a:gd name="connsiteY1" fmla="*/ 0 h 5155660"/>
              <a:gd name="connsiteX2" fmla="*/ 4295050 w 8507127"/>
              <a:gd name="connsiteY2" fmla="*/ 5155660 h 5155660"/>
              <a:gd name="connsiteX3" fmla="*/ 0 w 8507127"/>
              <a:gd name="connsiteY3" fmla="*/ 5155660 h 5155660"/>
              <a:gd name="connsiteX4" fmla="*/ 1 w 8507127"/>
              <a:gd name="connsiteY4" fmla="*/ 4018099 h 5155660"/>
              <a:gd name="connsiteX5" fmla="*/ 1690339 w 8507127"/>
              <a:gd name="connsiteY5" fmla="*/ 34637 h 5155660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 w 8507127"/>
              <a:gd name="connsiteY4" fmla="*/ 4019523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46365 w 8507127"/>
              <a:gd name="connsiteY4" fmla="*/ 4006644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5455 w 8507127"/>
              <a:gd name="connsiteY4" fmla="*/ 3973159 h 5157084"/>
              <a:gd name="connsiteX5" fmla="*/ 1651702 w 8507127"/>
              <a:gd name="connsiteY5" fmla="*/ 0 h 5157084"/>
              <a:gd name="connsiteX0" fmla="*/ 1636247 w 8491672"/>
              <a:gd name="connsiteY0" fmla="*/ 0 h 5157084"/>
              <a:gd name="connsiteX1" fmla="*/ 8491672 w 8491672"/>
              <a:gd name="connsiteY1" fmla="*/ 1424 h 5157084"/>
              <a:gd name="connsiteX2" fmla="*/ 4279595 w 8491672"/>
              <a:gd name="connsiteY2" fmla="*/ 5157084 h 5157084"/>
              <a:gd name="connsiteX3" fmla="*/ 64394 w 8491672"/>
              <a:gd name="connsiteY3" fmla="*/ 5157084 h 5157084"/>
              <a:gd name="connsiteX4" fmla="*/ 0 w 8491672"/>
              <a:gd name="connsiteY4" fmla="*/ 3973159 h 5157084"/>
              <a:gd name="connsiteX5" fmla="*/ 1636247 w 8491672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2576 w 8494248"/>
              <a:gd name="connsiteY4" fmla="*/ 3973159 h 5157084"/>
              <a:gd name="connsiteX5" fmla="*/ 1638823 w 8494248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38637 w 8494248"/>
              <a:gd name="connsiteY4" fmla="*/ 4029826 h 5157084"/>
              <a:gd name="connsiteX5" fmla="*/ 1638823 w 8494248"/>
              <a:gd name="connsiteY5" fmla="*/ 0 h 5157084"/>
              <a:gd name="connsiteX0" fmla="*/ 1641398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41398 w 8496823"/>
              <a:gd name="connsiteY5" fmla="*/ 0 h 5157084"/>
              <a:gd name="connsiteX0" fmla="*/ 1638256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38256 w 8496823"/>
              <a:gd name="connsiteY5" fmla="*/ 0 h 5157084"/>
              <a:gd name="connsiteX0" fmla="*/ 1638256 w 8496823"/>
              <a:gd name="connsiteY0" fmla="*/ 0 h 6846184"/>
              <a:gd name="connsiteX1" fmla="*/ 8496823 w 8496823"/>
              <a:gd name="connsiteY1" fmla="*/ 1424 h 6846184"/>
              <a:gd name="connsiteX2" fmla="*/ 2900446 w 8496823"/>
              <a:gd name="connsiteY2" fmla="*/ 6846184 h 6846184"/>
              <a:gd name="connsiteX3" fmla="*/ 2575 w 8496823"/>
              <a:gd name="connsiteY3" fmla="*/ 5157084 h 6846184"/>
              <a:gd name="connsiteX4" fmla="*/ 0 w 8496823"/>
              <a:gd name="connsiteY4" fmla="*/ 3983462 h 6846184"/>
              <a:gd name="connsiteX5" fmla="*/ 1638256 w 8496823"/>
              <a:gd name="connsiteY5" fmla="*/ 0 h 6846184"/>
              <a:gd name="connsiteX0" fmla="*/ 16483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648381 w 8506948"/>
              <a:gd name="connsiteY5" fmla="*/ 0 h 6858884"/>
              <a:gd name="connsiteX0" fmla="*/ 15975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597581 w 8506948"/>
              <a:gd name="connsiteY5" fmla="*/ 0 h 6858884"/>
              <a:gd name="connsiteX0" fmla="*/ 2083733 w 8993100"/>
              <a:gd name="connsiteY0" fmla="*/ 0 h 6858884"/>
              <a:gd name="connsiteX1" fmla="*/ 8993100 w 8993100"/>
              <a:gd name="connsiteY1" fmla="*/ 1424 h 6858884"/>
              <a:gd name="connsiteX2" fmla="*/ 3396723 w 8993100"/>
              <a:gd name="connsiteY2" fmla="*/ 6846184 h 6858884"/>
              <a:gd name="connsiteX3" fmla="*/ 486152 w 8993100"/>
              <a:gd name="connsiteY3" fmla="*/ 6858884 h 6858884"/>
              <a:gd name="connsiteX4" fmla="*/ 0 w 8993100"/>
              <a:gd name="connsiteY4" fmla="*/ 5136231 h 6858884"/>
              <a:gd name="connsiteX5" fmla="*/ 2083733 w 8993100"/>
              <a:gd name="connsiteY5" fmla="*/ 0 h 6858884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36231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57907"/>
              <a:gd name="connsiteX1" fmla="*/ 8993100 w 8993100"/>
              <a:gd name="connsiteY1" fmla="*/ 1424 h 6857907"/>
              <a:gd name="connsiteX2" fmla="*/ 3388908 w 8993100"/>
              <a:gd name="connsiteY2" fmla="*/ 6857907 h 6857907"/>
              <a:gd name="connsiteX3" fmla="*/ 99290 w 8993100"/>
              <a:gd name="connsiteY3" fmla="*/ 6851069 h 6857907"/>
              <a:gd name="connsiteX4" fmla="*/ 0 w 8993100"/>
              <a:gd name="connsiteY4" fmla="*/ 5124508 h 6857907"/>
              <a:gd name="connsiteX5" fmla="*/ 2083733 w 8993100"/>
              <a:gd name="connsiteY5" fmla="*/ 0 h 6857907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5505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7554"/>
              <a:gd name="connsiteX1" fmla="*/ 8993100 w 8993100"/>
              <a:gd name="connsiteY1" fmla="*/ 6186 h 6867554"/>
              <a:gd name="connsiteX2" fmla="*/ 3388908 w 8993100"/>
              <a:gd name="connsiteY2" fmla="*/ 6862669 h 6867554"/>
              <a:gd name="connsiteX3" fmla="*/ 5505 w 8993100"/>
              <a:gd name="connsiteY3" fmla="*/ 6867554 h 6867554"/>
              <a:gd name="connsiteX4" fmla="*/ 0 w 8993100"/>
              <a:gd name="connsiteY4" fmla="*/ 5129270 h 6867554"/>
              <a:gd name="connsiteX5" fmla="*/ 2083733 w 8993100"/>
              <a:gd name="connsiteY5" fmla="*/ 0 h 6867554"/>
              <a:gd name="connsiteX0" fmla="*/ 2083733 w 8791676"/>
              <a:gd name="connsiteY0" fmla="*/ 0 h 6867554"/>
              <a:gd name="connsiteX1" fmla="*/ 8791676 w 8791676"/>
              <a:gd name="connsiteY1" fmla="*/ 22172 h 6867554"/>
              <a:gd name="connsiteX2" fmla="*/ 3388908 w 8791676"/>
              <a:gd name="connsiteY2" fmla="*/ 6862669 h 6867554"/>
              <a:gd name="connsiteX3" fmla="*/ 5505 w 8791676"/>
              <a:gd name="connsiteY3" fmla="*/ 6867554 h 6867554"/>
              <a:gd name="connsiteX4" fmla="*/ 0 w 8791676"/>
              <a:gd name="connsiteY4" fmla="*/ 5129270 h 6867554"/>
              <a:gd name="connsiteX5" fmla="*/ 2083733 w 8791676"/>
              <a:gd name="connsiteY5" fmla="*/ 0 h 6867554"/>
              <a:gd name="connsiteX0" fmla="*/ 2083733 w 8948339"/>
              <a:gd name="connsiteY0" fmla="*/ 208 h 6867762"/>
              <a:gd name="connsiteX1" fmla="*/ 8948339 w 8948339"/>
              <a:gd name="connsiteY1" fmla="*/ 0 h 6867762"/>
              <a:gd name="connsiteX2" fmla="*/ 3388908 w 8948339"/>
              <a:gd name="connsiteY2" fmla="*/ 6862877 h 6867762"/>
              <a:gd name="connsiteX3" fmla="*/ 5505 w 8948339"/>
              <a:gd name="connsiteY3" fmla="*/ 6867762 h 6867762"/>
              <a:gd name="connsiteX4" fmla="*/ 0 w 8948339"/>
              <a:gd name="connsiteY4" fmla="*/ 5129478 h 6867762"/>
              <a:gd name="connsiteX5" fmla="*/ 2083733 w 8948339"/>
              <a:gd name="connsiteY5" fmla="*/ 208 h 686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48339" h="6867762">
                <a:moveTo>
                  <a:pt x="2083733" y="208"/>
                </a:moveTo>
                <a:lnTo>
                  <a:pt x="8948339" y="0"/>
                </a:lnTo>
                <a:lnTo>
                  <a:pt x="3388908" y="6862877"/>
                </a:lnTo>
                <a:lnTo>
                  <a:pt x="5505" y="6867762"/>
                </a:lnTo>
                <a:cubicBezTo>
                  <a:pt x="5505" y="6488575"/>
                  <a:pt x="0" y="5508665"/>
                  <a:pt x="0" y="5129478"/>
                </a:cubicBezTo>
                <a:lnTo>
                  <a:pt x="2083733" y="208"/>
                </a:lnTo>
                <a:close/>
              </a:path>
            </a:pathLst>
          </a:cu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866737" y="3588760"/>
            <a:ext cx="6604000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1866741" y="3692359"/>
            <a:ext cx="5576799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sz="1600" dirty="0"/>
              <a:t>Click to edit SUB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1866741" y="3059451"/>
            <a:ext cx="6154313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9976" y="6197565"/>
            <a:ext cx="2658995" cy="34383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1866737" y="4200993"/>
            <a:ext cx="4267200" cy="347472"/>
          </a:xfrm>
        </p:spPr>
        <p:txBody>
          <a:bodyPr anchor="ctr"/>
          <a:lstStyle>
            <a:lvl1pPr marL="0" indent="0">
              <a:buNone/>
              <a:defRPr sz="16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Dat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1866737" y="4889321"/>
            <a:ext cx="4267200" cy="347472"/>
          </a:xfrm>
        </p:spPr>
        <p:txBody>
          <a:bodyPr anchor="ctr"/>
          <a:lstStyle>
            <a:lvl1pPr marL="0" indent="0">
              <a:buNone/>
              <a:defRPr sz="105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vigant Reference No:</a:t>
            </a:r>
          </a:p>
        </p:txBody>
      </p:sp>
      <p:sp>
        <p:nvSpPr>
          <p:cNvPr id="15" name="Freeform 14"/>
          <p:cNvSpPr/>
          <p:nvPr userDrawn="1"/>
        </p:nvSpPr>
        <p:spPr>
          <a:xfrm>
            <a:off x="-8596" y="-3908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479662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2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"/>
          <p:cNvSpPr>
            <a:spLocks noGrp="1"/>
          </p:cNvSpPr>
          <p:nvPr>
            <p:ph idx="1"/>
          </p:nvPr>
        </p:nvSpPr>
        <p:spPr bwMode="gray">
          <a:xfrm>
            <a:off x="287453" y="1341114"/>
            <a:ext cx="116256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9" name="Title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6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50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421377561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"/>
          <p:cNvSpPr>
            <a:spLocks noGrp="1"/>
          </p:cNvSpPr>
          <p:nvPr>
            <p:ph idx="1"/>
          </p:nvPr>
        </p:nvSpPr>
        <p:spPr bwMode="gray">
          <a:xfrm>
            <a:off x="287453" y="1944002"/>
            <a:ext cx="11625600" cy="422515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4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8" name="Heading 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87453" y="1341117"/>
            <a:ext cx="11625600" cy="43088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4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4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4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6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50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60805938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9" y="3"/>
            <a:ext cx="6095999" cy="68571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9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8947054" y="858420"/>
            <a:ext cx="2963436" cy="4842504"/>
          </a:xfrm>
          <a:prstGeom prst="rect">
            <a:avLst/>
          </a:prstGeom>
        </p:spPr>
        <p:txBody>
          <a:bodyPr vert="horz" lIns="0" rIns="0" bIns="0" anchor="ctr"/>
          <a:lstStyle>
            <a:lvl1pPr marL="0" indent="0">
              <a:buFontTx/>
              <a:buNone/>
              <a:defRPr sz="2000" cap="all" baseline="0">
                <a:solidFill>
                  <a:srgbClr val="555759"/>
                </a:solidFill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ection #:</a:t>
            </a:r>
          </a:p>
          <a:p>
            <a:pPr lvl="0"/>
            <a:r>
              <a:rPr lang="en-US" dirty="0"/>
              <a:t>Click to add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1" y="6400190"/>
            <a:ext cx="1303209" cy="168518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1" y="868"/>
            <a:ext cx="6096000" cy="6857135"/>
          </a:xfrm>
          <a:prstGeom prst="rect">
            <a:avLst/>
          </a:pr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2527" y="858420"/>
            <a:ext cx="5246949" cy="4842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332637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Right"/>
          <p:cNvSpPr>
            <a:spLocks noGrp="1"/>
          </p:cNvSpPr>
          <p:nvPr>
            <p:ph idx="11"/>
          </p:nvPr>
        </p:nvSpPr>
        <p:spPr bwMode="gray">
          <a:xfrm>
            <a:off x="6393053" y="1341114"/>
            <a:ext cx="552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5" name="Content Left"/>
          <p:cNvSpPr>
            <a:spLocks noGrp="1"/>
          </p:cNvSpPr>
          <p:nvPr>
            <p:ph idx="1"/>
          </p:nvPr>
        </p:nvSpPr>
        <p:spPr bwMode="gray">
          <a:xfrm>
            <a:off x="287455" y="1341114"/>
            <a:ext cx="552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8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50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87594719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Right"/>
          <p:cNvSpPr>
            <a:spLocks noGrp="1"/>
          </p:cNvSpPr>
          <p:nvPr>
            <p:ph idx="11"/>
          </p:nvPr>
        </p:nvSpPr>
        <p:spPr bwMode="gray">
          <a:xfrm>
            <a:off x="6393053" y="1882448"/>
            <a:ext cx="552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5" name="Content Left"/>
          <p:cNvSpPr>
            <a:spLocks noGrp="1"/>
          </p:cNvSpPr>
          <p:nvPr>
            <p:ph idx="1"/>
          </p:nvPr>
        </p:nvSpPr>
        <p:spPr bwMode="gray">
          <a:xfrm>
            <a:off x="287451" y="1882448"/>
            <a:ext cx="552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4" name="Heading Right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393053" y="1341114"/>
            <a:ext cx="5520000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3" name="Heading Left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87455" y="1341114"/>
            <a:ext cx="5520000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50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339264130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Right Bottom"/>
          <p:cNvSpPr>
            <a:spLocks noGrp="1"/>
          </p:cNvSpPr>
          <p:nvPr>
            <p:ph idx="27"/>
          </p:nvPr>
        </p:nvSpPr>
        <p:spPr bwMode="gray">
          <a:xfrm>
            <a:off x="6393053" y="3842318"/>
            <a:ext cx="5520000" cy="232684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4" name="Content Left Bottom"/>
          <p:cNvSpPr>
            <a:spLocks noGrp="1"/>
          </p:cNvSpPr>
          <p:nvPr>
            <p:ph idx="28"/>
          </p:nvPr>
        </p:nvSpPr>
        <p:spPr bwMode="gray">
          <a:xfrm>
            <a:off x="287455" y="3842318"/>
            <a:ext cx="5520000" cy="232684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8" name="Content Right Top"/>
          <p:cNvSpPr>
            <a:spLocks noGrp="1"/>
          </p:cNvSpPr>
          <p:nvPr>
            <p:ph idx="26"/>
          </p:nvPr>
        </p:nvSpPr>
        <p:spPr bwMode="gray">
          <a:xfrm>
            <a:off x="6393053" y="1341114"/>
            <a:ext cx="5520000" cy="23256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9" name="Content Left Top"/>
          <p:cNvSpPr>
            <a:spLocks noGrp="1"/>
          </p:cNvSpPr>
          <p:nvPr>
            <p:ph idx="1"/>
          </p:nvPr>
        </p:nvSpPr>
        <p:spPr bwMode="gray">
          <a:xfrm>
            <a:off x="287455" y="1341114"/>
            <a:ext cx="5520000" cy="23256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0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11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50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38183931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_Green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04804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182021" y="6365444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rgbClr val="648C1A"/>
              </a:gs>
            </a:gsLst>
            <a:lin ang="10800000" scaled="0"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8"/>
          <p:cNvSpPr txBox="1">
            <a:spLocks/>
          </p:cNvSpPr>
          <p:nvPr userDrawn="1"/>
        </p:nvSpPr>
        <p:spPr>
          <a:xfrm>
            <a:off x="412683" y="6370119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– 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3" name="Picture 13" descr="Mission_Statement_RGB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1" y="6418196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8" descr="Blatt_2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89" b="1042"/>
          <a:stretch/>
        </p:blipFill>
        <p:spPr bwMode="auto">
          <a:xfrm>
            <a:off x="-10584" y="1011421"/>
            <a:ext cx="12202584" cy="53540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0048231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Right Top"/>
          <p:cNvSpPr>
            <a:spLocks noGrp="1"/>
          </p:cNvSpPr>
          <p:nvPr>
            <p:ph idx="29"/>
          </p:nvPr>
        </p:nvSpPr>
        <p:spPr bwMode="gray">
          <a:xfrm>
            <a:off x="6393053" y="1814188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9" name="Content Left Top"/>
          <p:cNvSpPr>
            <a:spLocks noGrp="1"/>
          </p:cNvSpPr>
          <p:nvPr>
            <p:ph idx="1"/>
          </p:nvPr>
        </p:nvSpPr>
        <p:spPr bwMode="gray">
          <a:xfrm>
            <a:off x="287455" y="1814188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1" name="Heading Right Top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393053" y="1341117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0" name="Heading Left Top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87455" y="1341117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4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15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50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  <p:sp>
        <p:nvSpPr>
          <p:cNvPr id="21" name="Content Right Top"/>
          <p:cNvSpPr>
            <a:spLocks noGrp="1"/>
          </p:cNvSpPr>
          <p:nvPr>
            <p:ph idx="34"/>
          </p:nvPr>
        </p:nvSpPr>
        <p:spPr bwMode="gray">
          <a:xfrm>
            <a:off x="6393053" y="4316632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22" name="Content Left Top"/>
          <p:cNvSpPr>
            <a:spLocks noGrp="1"/>
          </p:cNvSpPr>
          <p:nvPr>
            <p:ph idx="35"/>
          </p:nvPr>
        </p:nvSpPr>
        <p:spPr bwMode="gray">
          <a:xfrm>
            <a:off x="287455" y="4316632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23" name="Heading Right Top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6393053" y="3843558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4" name="Heading Left Top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87455" y="3843558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242455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Right"/>
          <p:cNvSpPr>
            <a:spLocks noGrp="1"/>
          </p:cNvSpPr>
          <p:nvPr>
            <p:ph idx="27"/>
          </p:nvPr>
        </p:nvSpPr>
        <p:spPr bwMode="gray">
          <a:xfrm>
            <a:off x="8313053" y="1341114"/>
            <a:ext cx="360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4" name="Content Middle"/>
          <p:cNvSpPr>
            <a:spLocks noGrp="1"/>
          </p:cNvSpPr>
          <p:nvPr>
            <p:ph idx="26"/>
          </p:nvPr>
        </p:nvSpPr>
        <p:spPr bwMode="gray">
          <a:xfrm>
            <a:off x="4300252" y="1341114"/>
            <a:ext cx="360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3" name="Content Left"/>
          <p:cNvSpPr>
            <a:spLocks noGrp="1"/>
          </p:cNvSpPr>
          <p:nvPr>
            <p:ph idx="25"/>
          </p:nvPr>
        </p:nvSpPr>
        <p:spPr bwMode="gray">
          <a:xfrm>
            <a:off x="287452" y="1341114"/>
            <a:ext cx="360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7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6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50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3399891221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Right"/>
          <p:cNvSpPr>
            <a:spLocks noGrp="1"/>
          </p:cNvSpPr>
          <p:nvPr>
            <p:ph idx="27"/>
          </p:nvPr>
        </p:nvSpPr>
        <p:spPr bwMode="gray">
          <a:xfrm>
            <a:off x="8313053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7" name="Content Middle"/>
          <p:cNvSpPr>
            <a:spLocks noGrp="1"/>
          </p:cNvSpPr>
          <p:nvPr>
            <p:ph idx="26"/>
          </p:nvPr>
        </p:nvSpPr>
        <p:spPr bwMode="gray">
          <a:xfrm>
            <a:off x="4300252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6" name="Content Left"/>
          <p:cNvSpPr>
            <a:spLocks noGrp="1"/>
          </p:cNvSpPr>
          <p:nvPr>
            <p:ph idx="25"/>
          </p:nvPr>
        </p:nvSpPr>
        <p:spPr bwMode="gray">
          <a:xfrm>
            <a:off x="287452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21" name="Heading Right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8313053" y="1337514"/>
            <a:ext cx="3600000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Heading Middl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00253" y="1337514"/>
            <a:ext cx="3600000" cy="369332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0" name="Heading Left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87453" y="1337514"/>
            <a:ext cx="3600000" cy="369332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0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50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300398927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2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Right"/>
          <p:cNvSpPr>
            <a:spLocks noGrp="1"/>
          </p:cNvSpPr>
          <p:nvPr>
            <p:ph idx="28"/>
          </p:nvPr>
        </p:nvSpPr>
        <p:spPr bwMode="gray">
          <a:xfrm>
            <a:off x="8313053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9" name="Heading Right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8313053" y="1337514"/>
            <a:ext cx="3600000" cy="369332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12" name="Content Middle"/>
          <p:cNvSpPr>
            <a:spLocks noGrp="1"/>
          </p:cNvSpPr>
          <p:nvPr>
            <p:ph idx="26"/>
          </p:nvPr>
        </p:nvSpPr>
        <p:spPr bwMode="gray">
          <a:xfrm>
            <a:off x="287455" y="1882448"/>
            <a:ext cx="7612799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3" name="Heading Middl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87457" y="1337514"/>
            <a:ext cx="7612799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7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50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840228049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01287954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Gray Bar_Content+Table/Chart/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304804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85344" y="6365444"/>
            <a:ext cx="58521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fld id="{C0D4A90D-707C-4CFA-8F87-17CF45DE2B45}" type="slidenum">
              <a:rPr sz="900" smtClean="0">
                <a:solidFill>
                  <a:srgbClr val="95D600"/>
                </a:solidFill>
              </a:rPr>
              <a:pPr>
                <a:buClr>
                  <a:srgbClr val="648C1A"/>
                </a:buClr>
              </a:pPr>
              <a:t>‹#›</a:t>
            </a:fld>
            <a:endParaRPr sz="900" dirty="0"/>
          </a:p>
        </p:txBody>
      </p:sp>
      <p:cxnSp>
        <p:nvCxnSpPr>
          <p:cNvPr id="7" name="Straight Connector 6"/>
          <p:cNvCxnSpPr/>
          <p:nvPr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13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87453" y="1403684"/>
            <a:ext cx="11623035" cy="11338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2075105" y="2627336"/>
            <a:ext cx="8056033" cy="431800"/>
          </a:xfrm>
        </p:spPr>
        <p:txBody>
          <a:bodyPr anchor="ctr"/>
          <a:lstStyle>
            <a:lvl1pPr marL="0" indent="0" algn="ctr">
              <a:buNone/>
              <a:defRPr sz="1600" b="1" baseline="0"/>
            </a:lvl1pPr>
          </a:lstStyle>
          <a:p>
            <a:pPr lvl="0"/>
            <a:r>
              <a:rPr lang="en-US" b="1" dirty="0"/>
              <a:t>Insert Table/Chart/Figure Title</a:t>
            </a:r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1"/>
          </p:nvPr>
        </p:nvSpPr>
        <p:spPr>
          <a:xfrm>
            <a:off x="2854258" y="3148935"/>
            <a:ext cx="6470185" cy="266891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2998603" y="5870239"/>
            <a:ext cx="2400300" cy="219075"/>
          </a:xfrm>
        </p:spPr>
        <p:txBody>
          <a:bodyPr anchor="ctr"/>
          <a:lstStyle>
            <a:lvl1pPr marL="0" indent="0">
              <a:buNone/>
              <a:defRPr sz="800" i="1" baseline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sz="800" i="1" dirty="0"/>
              <a:t>Insert source</a:t>
            </a:r>
            <a:endParaRPr lang="en-US" dirty="0"/>
          </a:p>
        </p:txBody>
      </p:sp>
      <p:sp>
        <p:nvSpPr>
          <p:cNvPr id="17" name="Text Placeholder 18"/>
          <p:cNvSpPr txBox="1">
            <a:spLocks/>
          </p:cNvSpPr>
          <p:nvPr userDrawn="1"/>
        </p:nvSpPr>
        <p:spPr>
          <a:xfrm>
            <a:off x="412683" y="6370119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r>
              <a:rPr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/ ©ECOFYS, A </a:t>
            </a:r>
            <a:r>
              <a:rPr lang="en-US"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Navigant – A </a:t>
            </a:r>
            <a:r>
              <a:rPr lang="en-US" sz="900" dirty="0" err="1">
                <a:solidFill>
                  <a:srgbClr val="648C1A">
                    <a:lumMod val="60000"/>
                    <a:lumOff val="40000"/>
                  </a:srgbClr>
                </a:solidFill>
              </a:rPr>
              <a:t>Guidehouse</a:t>
            </a:r>
            <a:r>
              <a:rPr lang="en-US"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 Company</a:t>
            </a:r>
            <a:r>
              <a:rPr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 Company. All rights Reserved</a:t>
            </a:r>
          </a:p>
        </p:txBody>
      </p:sp>
      <p:pic>
        <p:nvPicPr>
          <p:cNvPr id="18" name="Picture 13" descr="Mission_Statement_RGB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1" y="6418196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77001773"/>
      </p:ext>
    </p:extLst>
  </p:cSld>
  <p:clrMapOvr>
    <a:masterClrMapping/>
  </p:clrMapOvr>
  <p:hf sldNum="0" hdr="0" dt="0"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_Gray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4" name="Text Placeholder 18"/>
          <p:cNvSpPr txBox="1">
            <a:spLocks/>
          </p:cNvSpPr>
          <p:nvPr/>
        </p:nvSpPr>
        <p:spPr>
          <a:xfrm>
            <a:off x="412683" y="6370119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r>
              <a:rPr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/ ©2016 </a:t>
            </a:r>
            <a:r>
              <a:rPr lang="en-US"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Navigant – A </a:t>
            </a:r>
            <a:r>
              <a:rPr lang="en-US" sz="900" dirty="0" err="1">
                <a:solidFill>
                  <a:srgbClr val="648C1A">
                    <a:lumMod val="60000"/>
                    <a:lumOff val="40000"/>
                  </a:srgbClr>
                </a:solidFill>
              </a:rPr>
              <a:t>Guidehouse</a:t>
            </a:r>
            <a:r>
              <a:rPr lang="en-US"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 Company</a:t>
            </a:r>
            <a:r>
              <a:rPr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 Consulting, Inc. All rights Reserved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304804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/>
        </p:nvSpPr>
        <p:spPr>
          <a:xfrm>
            <a:off x="85344" y="6365444"/>
            <a:ext cx="58521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fld id="{C0D4A90D-707C-4CFA-8F87-17CF45DE2B45}" type="slidenum">
              <a:rPr sz="900" smtClean="0">
                <a:solidFill>
                  <a:srgbClr val="95D600"/>
                </a:solidFill>
              </a:rPr>
              <a:pPr>
                <a:buClr>
                  <a:srgbClr val="648C1A"/>
                </a:buClr>
              </a:pPr>
              <a:t>‹#›</a:t>
            </a:fld>
            <a:endParaRPr sz="900" dirty="0"/>
          </a:p>
        </p:txBody>
      </p:sp>
      <p:cxnSp>
        <p:nvCxnSpPr>
          <p:cNvPr id="7" name="Straight Connector 6"/>
          <p:cNvCxnSpPr/>
          <p:nvPr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1" y="6400190"/>
            <a:ext cx="1303209" cy="168518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13" name="Rectangle 1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304804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8"/>
          <p:cNvSpPr txBox="1">
            <a:spLocks/>
          </p:cNvSpPr>
          <p:nvPr userDrawn="1"/>
        </p:nvSpPr>
        <p:spPr>
          <a:xfrm>
            <a:off x="182021" y="6365444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fld id="{C0D4A90D-707C-4CFA-8F87-17CF45DE2B45}" type="slidenum">
              <a:rPr sz="900" smtClean="0">
                <a:solidFill>
                  <a:srgbClr val="95D600"/>
                </a:solidFill>
              </a:rPr>
              <a:pPr>
                <a:buClr>
                  <a:srgbClr val="648C1A"/>
                </a:buClr>
              </a:pPr>
              <a:t>‹#›</a:t>
            </a:fld>
            <a:endParaRPr sz="900" dirty="0"/>
          </a:p>
        </p:txBody>
      </p:sp>
      <p:cxnSp>
        <p:nvCxnSpPr>
          <p:cNvPr id="17" name="Straight Connector 1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" name="Rectangle 18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20" name="Rectangle 19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21" name="Text Placeholder 18"/>
          <p:cNvSpPr txBox="1">
            <a:spLocks/>
          </p:cNvSpPr>
          <p:nvPr userDrawn="1"/>
        </p:nvSpPr>
        <p:spPr>
          <a:xfrm>
            <a:off x="412683" y="6370119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r>
              <a:rPr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/ ©ECOFYS, A </a:t>
            </a:r>
            <a:r>
              <a:rPr lang="en-US"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Navigant – A </a:t>
            </a:r>
            <a:r>
              <a:rPr lang="en-US" sz="900" dirty="0" err="1">
                <a:solidFill>
                  <a:srgbClr val="648C1A">
                    <a:lumMod val="60000"/>
                    <a:lumOff val="40000"/>
                  </a:srgbClr>
                </a:solidFill>
              </a:rPr>
              <a:t>Guidehouse</a:t>
            </a:r>
            <a:r>
              <a:rPr lang="en-US"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 Company</a:t>
            </a:r>
            <a:r>
              <a:rPr sz="900" dirty="0">
                <a:solidFill>
                  <a:srgbClr val="648C1A">
                    <a:lumMod val="60000"/>
                    <a:lumOff val="40000"/>
                  </a:srgbClr>
                </a:solidFill>
              </a:rPr>
              <a:t> Company. All rights Reserved</a:t>
            </a:r>
          </a:p>
        </p:txBody>
      </p:sp>
      <p:pic>
        <p:nvPicPr>
          <p:cNvPr id="22" name="Picture 13" descr="Mission_Statement_RGB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1" y="6418196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172021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Gray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04804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182021" y="6365444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3" name="Text Placeholder 18"/>
          <p:cNvSpPr txBox="1">
            <a:spLocks/>
          </p:cNvSpPr>
          <p:nvPr userDrawn="1"/>
        </p:nvSpPr>
        <p:spPr>
          <a:xfrm>
            <a:off x="412683" y="6370119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– 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4" name="Picture 13" descr="Mission_Statement_RGB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1" y="6418196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214534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48" y="1"/>
            <a:ext cx="9137741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768325" y="1262358"/>
            <a:ext cx="9142163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reeform 3"/>
          <p:cNvSpPr/>
          <p:nvPr userDrawn="1"/>
        </p:nvSpPr>
        <p:spPr>
          <a:xfrm>
            <a:off x="-8596" y="-3908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4292624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Bar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04804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182021" y="6365444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87453" y="1262358"/>
            <a:ext cx="11623035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rgbClr val="648C1A"/>
              </a:gs>
            </a:gsLst>
            <a:lin ang="10800000" scaled="0"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8"/>
          <p:cNvSpPr txBox="1">
            <a:spLocks/>
          </p:cNvSpPr>
          <p:nvPr userDrawn="1"/>
        </p:nvSpPr>
        <p:spPr>
          <a:xfrm>
            <a:off x="412683" y="6370119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– 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4" name="Picture 13" descr="Mission_Statement_RGB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1" y="6418196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4533656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Bar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04804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182021" y="6365444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3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87453" y="1403684"/>
            <a:ext cx="11623035" cy="4765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18"/>
          <p:cNvSpPr txBox="1">
            <a:spLocks/>
          </p:cNvSpPr>
          <p:nvPr userDrawn="1"/>
        </p:nvSpPr>
        <p:spPr>
          <a:xfrm>
            <a:off x="412683" y="6370119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– 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5" name="Picture 13" descr="Mission_Statement_RGB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1" y="6418196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352862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_Title and 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48" y="1"/>
            <a:ext cx="9137741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768327" y="1262358"/>
            <a:ext cx="4406133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Rectangle 14"/>
          <p:cNvSpPr>
            <a:spLocks noGrp="1" noChangeArrowheads="1"/>
          </p:cNvSpPr>
          <p:nvPr>
            <p:ph idx="10"/>
          </p:nvPr>
        </p:nvSpPr>
        <p:spPr bwMode="auto">
          <a:xfrm>
            <a:off x="7504356" y="1262358"/>
            <a:ext cx="4406133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reeform 5"/>
          <p:cNvSpPr/>
          <p:nvPr userDrawn="1"/>
        </p:nvSpPr>
        <p:spPr>
          <a:xfrm>
            <a:off x="-8596" y="-3908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8472379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Bar_Title and 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04804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182021" y="6365444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4" name="Rectangle 14"/>
          <p:cNvSpPr>
            <a:spLocks noGrp="1" noChangeArrowheads="1"/>
          </p:cNvSpPr>
          <p:nvPr>
            <p:ph idx="10"/>
          </p:nvPr>
        </p:nvSpPr>
        <p:spPr bwMode="auto">
          <a:xfrm>
            <a:off x="287455" y="1403685"/>
            <a:ext cx="5628156" cy="47653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4"/>
          <p:cNvSpPr>
            <a:spLocks noGrp="1" noChangeArrowheads="1"/>
          </p:cNvSpPr>
          <p:nvPr>
            <p:ph idx="11"/>
          </p:nvPr>
        </p:nvSpPr>
        <p:spPr bwMode="auto">
          <a:xfrm>
            <a:off x="6282334" y="1403685"/>
            <a:ext cx="5628156" cy="47653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8"/>
          <p:cNvSpPr txBox="1">
            <a:spLocks/>
          </p:cNvSpPr>
          <p:nvPr userDrawn="1"/>
        </p:nvSpPr>
        <p:spPr>
          <a:xfrm>
            <a:off x="412683" y="6370119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– 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6" name="Picture 13" descr="Mission_Statement_RGB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1" y="6418196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605902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_Title and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48" y="1"/>
            <a:ext cx="9137741" cy="1011420"/>
          </a:xfrm>
          <a:prstGeom prst="rect">
            <a:avLst/>
          </a:prstGeom>
        </p:spPr>
        <p:txBody>
          <a:bodyPr anchor="b"/>
          <a:lstStyle>
            <a:lvl1pPr>
              <a:defRPr sz="2200"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768325" y="1262358"/>
            <a:ext cx="2808867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Rectangle 14"/>
          <p:cNvSpPr>
            <a:spLocks noGrp="1" noChangeArrowheads="1"/>
          </p:cNvSpPr>
          <p:nvPr>
            <p:ph idx="10"/>
          </p:nvPr>
        </p:nvSpPr>
        <p:spPr bwMode="auto">
          <a:xfrm>
            <a:off x="5937185" y="1262358"/>
            <a:ext cx="2808867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Rectangle 14"/>
          <p:cNvSpPr>
            <a:spLocks noGrp="1" noChangeArrowheads="1"/>
          </p:cNvSpPr>
          <p:nvPr>
            <p:ph idx="11"/>
          </p:nvPr>
        </p:nvSpPr>
        <p:spPr bwMode="auto">
          <a:xfrm>
            <a:off x="9101621" y="1262358"/>
            <a:ext cx="2808867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Freeform 7"/>
          <p:cNvSpPr/>
          <p:nvPr userDrawn="1"/>
        </p:nvSpPr>
        <p:spPr>
          <a:xfrm>
            <a:off x="-8596" y="-3908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69755358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Bar_Title and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04804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182021" y="6365444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87453" y="1262358"/>
            <a:ext cx="3654227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Rectangle 14"/>
          <p:cNvSpPr>
            <a:spLocks noGrp="1" noChangeArrowheads="1"/>
          </p:cNvSpPr>
          <p:nvPr>
            <p:ph idx="10"/>
          </p:nvPr>
        </p:nvSpPr>
        <p:spPr bwMode="auto">
          <a:xfrm>
            <a:off x="4271857" y="1262358"/>
            <a:ext cx="3654227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4"/>
          <p:cNvSpPr>
            <a:spLocks noGrp="1" noChangeArrowheads="1"/>
          </p:cNvSpPr>
          <p:nvPr>
            <p:ph idx="11"/>
          </p:nvPr>
        </p:nvSpPr>
        <p:spPr bwMode="auto">
          <a:xfrm>
            <a:off x="8256261" y="1262358"/>
            <a:ext cx="3654227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Rectangle 15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rgbClr val="648C1A"/>
              </a:gs>
            </a:gsLst>
            <a:lin ang="10800000" scaled="0"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18"/>
          <p:cNvSpPr txBox="1">
            <a:spLocks/>
          </p:cNvSpPr>
          <p:nvPr userDrawn="1"/>
        </p:nvSpPr>
        <p:spPr>
          <a:xfrm>
            <a:off x="412683" y="6370119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– 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9" name="Picture 13" descr="Mission_Statement_RGB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1" y="6418196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467084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Full Red">
    <p:bg>
      <p:bgPr>
        <a:solidFill>
          <a:srgbClr val="BA0C2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USAID_Logo_White_v02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1740" y="685800"/>
            <a:ext cx="2438400" cy="544010"/>
          </a:xfrm>
          <a:prstGeom prst="rect">
            <a:avLst/>
          </a:prstGeom>
        </p:spPr>
      </p:pic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914400" y="2133600"/>
            <a:ext cx="7315200" cy="1600200"/>
          </a:xfrm>
        </p:spPr>
        <p:txBody>
          <a:bodyPr anchor="b" anchorCtr="0">
            <a:normAutofit/>
          </a:bodyPr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14400" y="4114800"/>
            <a:ext cx="4572000" cy="1600200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5277123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Bar_Title and 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04804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182021" y="6365444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3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87453" y="1403682"/>
            <a:ext cx="3654227" cy="47653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Rectangle 14"/>
          <p:cNvSpPr>
            <a:spLocks noGrp="1" noChangeArrowheads="1"/>
          </p:cNvSpPr>
          <p:nvPr>
            <p:ph idx="12"/>
          </p:nvPr>
        </p:nvSpPr>
        <p:spPr bwMode="auto">
          <a:xfrm>
            <a:off x="4271857" y="1403682"/>
            <a:ext cx="3654227" cy="47653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14"/>
          <p:cNvSpPr>
            <a:spLocks noGrp="1" noChangeArrowheads="1"/>
          </p:cNvSpPr>
          <p:nvPr>
            <p:ph idx="13"/>
          </p:nvPr>
        </p:nvSpPr>
        <p:spPr bwMode="auto">
          <a:xfrm>
            <a:off x="8256261" y="1403682"/>
            <a:ext cx="3654227" cy="47653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18"/>
          <p:cNvSpPr txBox="1">
            <a:spLocks/>
          </p:cNvSpPr>
          <p:nvPr userDrawn="1"/>
        </p:nvSpPr>
        <p:spPr>
          <a:xfrm>
            <a:off x="412683" y="6370119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– 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5" name="Picture 13" descr="Mission_Statement_RGB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1" y="6418196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7723417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gline_Title Only_Gray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287453" y="1323975"/>
            <a:ext cx="11610331" cy="577850"/>
          </a:xfrm>
        </p:spPr>
        <p:txBody>
          <a:bodyPr/>
          <a:lstStyle>
            <a:lvl1pPr marL="0" indent="0">
              <a:buNone/>
              <a:defRPr b="1" baseline="0"/>
            </a:lvl1pPr>
            <a:lvl2pPr marL="236537" indent="0">
              <a:buNone/>
              <a:defRPr/>
            </a:lvl2pPr>
            <a:lvl3pPr marL="682625" indent="0">
              <a:buNone/>
              <a:defRPr/>
            </a:lvl3pPr>
            <a:lvl4pPr marL="1028700" indent="0">
              <a:buNone/>
              <a:defRPr/>
            </a:lvl4pPr>
            <a:lvl5pPr marL="1374775" indent="0">
              <a:buNone/>
              <a:defRPr/>
            </a:lvl5pPr>
          </a:lstStyle>
          <a:p>
            <a:pPr lvl="0"/>
            <a:r>
              <a:rPr lang="en-US" dirty="0"/>
              <a:t>Click to enter tagline text. 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04804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8"/>
          <p:cNvSpPr txBox="1">
            <a:spLocks/>
          </p:cNvSpPr>
          <p:nvPr userDrawn="1"/>
        </p:nvSpPr>
        <p:spPr>
          <a:xfrm>
            <a:off x="412683" y="6370119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– 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5" name="Picture 13" descr="Mission_Statement_RGB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1" y="6418196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18"/>
          <p:cNvSpPr txBox="1">
            <a:spLocks/>
          </p:cNvSpPr>
          <p:nvPr userDrawn="1"/>
        </p:nvSpPr>
        <p:spPr>
          <a:xfrm>
            <a:off x="182021" y="6365444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3458395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622302" y="0"/>
            <a:ext cx="10941049" cy="846138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7" name="Inhaltsplatzhalter 2"/>
          <p:cNvSpPr>
            <a:spLocks noGrp="1"/>
          </p:cNvSpPr>
          <p:nvPr>
            <p:ph sz="half" idx="1"/>
          </p:nvPr>
        </p:nvSpPr>
        <p:spPr>
          <a:xfrm>
            <a:off x="622301" y="1192213"/>
            <a:ext cx="5367867" cy="5146675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2"/>
          </p:nvPr>
        </p:nvSpPr>
        <p:spPr>
          <a:xfrm>
            <a:off x="6193367" y="1192213"/>
            <a:ext cx="5369984" cy="5146675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9" name="Datumsplatzhalter 4"/>
          <p:cNvSpPr>
            <a:spLocks noGrp="1"/>
          </p:cNvSpPr>
          <p:nvPr>
            <p:ph type="dt" sz="half" idx="10"/>
          </p:nvPr>
        </p:nvSpPr>
        <p:spPr>
          <a:xfrm>
            <a:off x="2253052" y="6578600"/>
            <a:ext cx="869949" cy="133350"/>
          </a:xfrm>
        </p:spPr>
        <p:txBody>
          <a:bodyPr/>
          <a:lstStyle>
            <a:lvl1pPr>
              <a:defRPr/>
            </a:lvl1pPr>
          </a:lstStyle>
          <a:p>
            <a:fld id="{C9BD4F23-E76B-44C4-B99C-C259D939991E}" type="datetime1">
              <a:rPr lang="en-GB"/>
              <a:pPr/>
              <a:t>03/07/2020</a:t>
            </a:fld>
            <a:endParaRPr lang="en-GB" dirty="0"/>
          </a:p>
        </p:txBody>
      </p:sp>
      <p:sp>
        <p:nvSpPr>
          <p:cNvPr id="10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3230035" y="6578600"/>
            <a:ext cx="4792133" cy="173038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Name</a:t>
            </a:r>
          </a:p>
        </p:txBody>
      </p:sp>
      <p:sp>
        <p:nvSpPr>
          <p:cNvPr id="11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2" y="6578600"/>
            <a:ext cx="1369484" cy="147638"/>
          </a:xfrm>
        </p:spPr>
        <p:txBody>
          <a:bodyPr/>
          <a:lstStyle>
            <a:lvl1pPr>
              <a:defRPr/>
            </a:lvl1pPr>
          </a:lstStyle>
          <a:p>
            <a:fld id="{F8C92D98-CF1D-41BE-ACCF-242B5082D7FB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703261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2F8542F-706B-41EC-BB29-F4735E768B13}" type="datetime1">
              <a:rPr lang="en-US" smtClean="0">
                <a:solidFill>
                  <a:srgbClr val="000000"/>
                </a:solidFill>
              </a:rPr>
              <a:pPr/>
              <a:t>7/3/2020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000000"/>
                </a:solidFill>
              </a:rPr>
              <a:t>Corinna Klessmann and Fabian Wigand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051296D-C1C0-46AC-980A-14DBEA0E3F2D}" type="slidenum">
              <a:rPr lang="en-GB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12902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Full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Placeholder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200" y="153462"/>
            <a:ext cx="11785600" cy="6553200"/>
          </a:xfrm>
          <a:prstGeom prst="rect">
            <a:avLst/>
          </a:prstGeom>
          <a:solidFill>
            <a:srgbClr val="CFCDC9"/>
          </a:solidFill>
        </p:spPr>
      </p:pic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0C00456-721A-A94C-800A-D5E7EE91C160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914400" y="2133600"/>
            <a:ext cx="7315200" cy="1600200"/>
          </a:xfrm>
          <a:effectLst>
            <a:outerShdw blurRad="254000" dir="2700000" algn="tl" rotWithShape="0">
              <a:srgbClr val="000000">
                <a:alpha val="20000"/>
              </a:srgbClr>
            </a:outerShdw>
          </a:effectLst>
        </p:spPr>
        <p:txBody>
          <a:bodyPr anchor="b" anchorCtr="0"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14400" y="4114800"/>
            <a:ext cx="4572000" cy="1600200"/>
          </a:xfrm>
          <a:effectLst>
            <a:outerShdw blurRad="254000" dir="5400000" algn="tl" rotWithShape="0">
              <a:srgbClr val="000000">
                <a:alpha val="40000"/>
              </a:srgbClr>
            </a:outerShdw>
          </a:effectLst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0494089" y="14316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chemeClr val="bg1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pic>
        <p:nvPicPr>
          <p:cNvPr id="15" name="Picture 14" descr="USAID_Logo_White_v02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1740" y="685800"/>
            <a:ext cx="2438400" cy="544010"/>
          </a:xfrm>
          <a:prstGeom prst="rect">
            <a:avLst/>
          </a:prstGeom>
          <a:effectLst>
            <a:outerShdw blurRad="254000" dir="2700000" algn="tl" rotWithShape="0">
              <a:srgbClr val="000000">
                <a:alpha val="2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89955143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Full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EB2C8F94-9D67-854F-8417-3B884156945E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914400" y="2133600"/>
            <a:ext cx="7315200" cy="1600200"/>
          </a:xfrm>
        </p:spPr>
        <p:txBody>
          <a:bodyPr anchor="b" anchorCtr="0">
            <a:normAutofit/>
          </a:bodyPr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14400" y="4114800"/>
            <a:ext cx="4572000" cy="1600200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58754162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Divider - Full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24000" y="827783"/>
            <a:ext cx="7315200" cy="584775"/>
          </a:xfrm>
        </p:spPr>
        <p:txBody>
          <a:bodyPr wrap="square" anchor="t" anchorCtr="0">
            <a:spAutoFit/>
          </a:bodyPr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C3349C05-927F-3348-96DF-9086CF2761D6}" type="datetime1">
              <a:rPr lang="en-US" smtClean="0"/>
              <a:t>7/3/2020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769790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600200"/>
            <a:ext cx="10363200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868359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805" y="1600200"/>
            <a:ext cx="507959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0"/>
            <a:ext cx="508040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7/3/2020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5126492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805" y="1600200"/>
            <a:ext cx="335239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924800" y="1600200"/>
            <a:ext cx="335320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7/3/2020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4419399" y="1600200"/>
            <a:ext cx="335320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353155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Divider - Full Red">
    <p:bg>
      <p:bgPr>
        <a:solidFill>
          <a:srgbClr val="BA0C2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24000" y="827783"/>
            <a:ext cx="7315200" cy="584775"/>
          </a:xfrm>
        </p:spPr>
        <p:txBody>
          <a:bodyPr wrap="square" anchor="t" anchorCtr="0">
            <a:spAutoFit/>
          </a:bodyPr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 descr="USAID_Logo_White_v02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0" y="5943600"/>
            <a:ext cx="2049293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49637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1 Content + Bottom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203200" y="3429000"/>
            <a:ext cx="11785600" cy="3276600"/>
          </a:xfrm>
          <a:solidFill>
            <a:schemeClr val="bg1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600200"/>
            <a:ext cx="10363200" cy="1600200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193355D5-F1DA-0F48-9E7E-0A3FEBF9FF84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0494089" y="47082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</p:spTree>
    <p:extLst>
      <p:ext uri="{BB962C8B-B14F-4D97-AF65-F5344CB8AC3E}">
        <p14:creationId xmlns:p14="http://schemas.microsoft.com/office/powerpoint/2010/main" val="324498184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1 Content + Righ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152400"/>
            <a:ext cx="5892800" cy="6553200"/>
          </a:xfrm>
          <a:solidFill>
            <a:srgbClr val="FFFFFF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914400" y="2057402"/>
            <a:ext cx="4876800" cy="4114799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914401" y="843987"/>
            <a:ext cx="4876395" cy="954107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0494089" y="14316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</p:spTree>
    <p:extLst>
      <p:ext uri="{BB962C8B-B14F-4D97-AF65-F5344CB8AC3E}">
        <p14:creationId xmlns:p14="http://schemas.microsoft.com/office/powerpoint/2010/main" val="289438287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203200" y="152400"/>
            <a:ext cx="5892800" cy="6553200"/>
          </a:xfrm>
          <a:solidFill>
            <a:srgbClr val="FFFFFF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4601289" y="14316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6502805" y="2971803"/>
            <a:ext cx="5181195" cy="954107"/>
          </a:xfrm>
        </p:spPr>
        <p:txBody>
          <a:bodyPr wrap="square" anchor="ctr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9528509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White 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600200"/>
            <a:ext cx="10363200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0113364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White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805" y="1600200"/>
            <a:ext cx="507959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0"/>
            <a:ext cx="508040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7/3/2020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3719589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White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805" y="1600200"/>
            <a:ext cx="335239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924800" y="1600200"/>
            <a:ext cx="335320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7/3/2020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4419399" y="1600200"/>
            <a:ext cx="335320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4475431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White 1 Content + Bottom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203200" y="3429000"/>
            <a:ext cx="11785600" cy="3276600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600200"/>
            <a:ext cx="10363200" cy="1600200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193355D5-F1DA-0F48-9E7E-0A3FEBF9FF84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0494089" y="47082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</p:spTree>
    <p:extLst>
      <p:ext uri="{BB962C8B-B14F-4D97-AF65-F5344CB8AC3E}">
        <p14:creationId xmlns:p14="http://schemas.microsoft.com/office/powerpoint/2010/main" val="22238158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White 1 Content + Righ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152400"/>
            <a:ext cx="5892800" cy="6553200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914400" y="2057402"/>
            <a:ext cx="4876800" cy="4114799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914401" y="843987"/>
            <a:ext cx="4876395" cy="954107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0494089" y="14316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</p:spTree>
    <p:extLst>
      <p:ext uri="{BB962C8B-B14F-4D97-AF65-F5344CB8AC3E}">
        <p14:creationId xmlns:p14="http://schemas.microsoft.com/office/powerpoint/2010/main" val="2776436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Whit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203200" y="152400"/>
            <a:ext cx="5892800" cy="6553200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4601289" y="14316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6502805" y="2971803"/>
            <a:ext cx="5181195" cy="954107"/>
          </a:xfrm>
        </p:spPr>
        <p:txBody>
          <a:bodyPr wrap="square" anchor="ctr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7306151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202" y="139702"/>
            <a:ext cx="11785599" cy="6553199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0494089" y="14316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3F4168E2-91C5-9646-9F53-5B4E70AF759D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 descr="USAID_Logo_White_v02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0" y="5943600"/>
            <a:ext cx="2049293" cy="457200"/>
          </a:xfrm>
          <a:prstGeom prst="rect">
            <a:avLst/>
          </a:prstGeom>
        </p:spPr>
      </p:pic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14400" y="4114800"/>
            <a:ext cx="4572000" cy="1600200"/>
          </a:xfrm>
          <a:effectLst>
            <a:outerShdw blurRad="254000" dir="5400000" algn="tl" rotWithShape="0">
              <a:srgbClr val="000000">
                <a:alpha val="40000"/>
              </a:srgbClr>
            </a:outerShdw>
          </a:effectLst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822547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1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600200"/>
            <a:ext cx="10363200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1609726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Full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USAID_Logo_White_v02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1740" y="685800"/>
            <a:ext cx="2438400" cy="544010"/>
          </a:xfrm>
          <a:prstGeom prst="rect">
            <a:avLst/>
          </a:prstGeom>
        </p:spPr>
      </p:pic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EB2C8F94-9D67-854F-8417-3B884156945E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914400" y="2133600"/>
            <a:ext cx="7315200" cy="1600200"/>
          </a:xfrm>
        </p:spPr>
        <p:txBody>
          <a:bodyPr anchor="b" anchorCtr="0">
            <a:normAutofit/>
          </a:bodyPr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14400" y="4114800"/>
            <a:ext cx="4572000" cy="1600200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35051634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Divider - Full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24000" y="827783"/>
            <a:ext cx="7315200" cy="584775"/>
          </a:xfrm>
        </p:spPr>
        <p:txBody>
          <a:bodyPr wrap="square" anchor="t" anchorCtr="0">
            <a:spAutoFit/>
          </a:bodyPr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C3349C05-927F-3348-96DF-9086CF2761D6}" type="datetime1">
              <a:rPr lang="en-US" smtClean="0"/>
              <a:t>7/3/2020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 descr="USAID_Logo_White_v02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0" y="5943600"/>
            <a:ext cx="2049293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275329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/Gray 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600200"/>
            <a:ext cx="10363200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6117704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/Gray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805" y="1600200"/>
            <a:ext cx="507959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0"/>
            <a:ext cx="508040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F1C838E6-2EFE-2E47-BF15-73F64BC0A44F}" type="datetime1">
              <a:rPr lang="en-US" smtClean="0"/>
              <a:t>7/3/2020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0012818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/Gray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805" y="1600200"/>
            <a:ext cx="335239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924800" y="1600200"/>
            <a:ext cx="335320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7/3/2020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4419399" y="1600200"/>
            <a:ext cx="335320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7718027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/Gray 1 Content + Bottom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203200" y="3429000"/>
            <a:ext cx="11785600" cy="3276600"/>
          </a:xfrm>
          <a:solidFill>
            <a:schemeClr val="bg1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0494089" y="47082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600200"/>
            <a:ext cx="10363200" cy="1600200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BCCE5460-4FB7-5647-9AB1-CEF5116A5DCA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8435136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/Gray 1 Content + Righ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152400"/>
            <a:ext cx="5892800" cy="6553200"/>
          </a:xfrm>
          <a:solidFill>
            <a:srgbClr val="FFFFFF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7D8A49A0-1A63-6943-82D6-C193E6102C72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914400" y="2057400"/>
            <a:ext cx="4876800" cy="41148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914401" y="843987"/>
            <a:ext cx="4876395" cy="954107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0494089" y="14316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</p:spTree>
    <p:extLst>
      <p:ext uri="{BB962C8B-B14F-4D97-AF65-F5344CB8AC3E}">
        <p14:creationId xmlns:p14="http://schemas.microsoft.com/office/powerpoint/2010/main" val="368271381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/Gray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203200" y="152400"/>
            <a:ext cx="5892800" cy="6553200"/>
          </a:xfrm>
          <a:solidFill>
            <a:srgbClr val="FFFFFF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4601289" y="14316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6502805" y="2971803"/>
            <a:ext cx="5181195" cy="954107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0801597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/White 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600200"/>
            <a:ext cx="10363200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0951413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/White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805" y="1600200"/>
            <a:ext cx="507959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0"/>
            <a:ext cx="508040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6C6463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F1C838E6-2EFE-2E47-BF15-73F64BC0A44F}" type="datetime1">
              <a:rPr lang="en-US" smtClean="0"/>
              <a:t>7/3/2020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010956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07CC1E-9E87-4590-9E63-5AD3EB8E6F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11F1EFB-12C2-4D83-8950-8E5991EA7C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42C7F57-1ED7-4099-9108-D42823301E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54DD1F4-631A-41BC-BFC6-406640495C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41823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/White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805" y="1600200"/>
            <a:ext cx="335239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924800" y="1600200"/>
            <a:ext cx="335320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7/3/2020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4419399" y="1600200"/>
            <a:ext cx="3353205" cy="45720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131468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/White 1 Content + Bottom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203200" y="3429000"/>
            <a:ext cx="11785600" cy="3276600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0494089" y="47082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600200"/>
            <a:ext cx="10363200" cy="1600200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BCCE5460-4FB7-5647-9AB1-CEF5116A5DCA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48380"/>
            <a:ext cx="10363200" cy="523220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3667803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/White 1 Content + Righ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152400"/>
            <a:ext cx="5892800" cy="6553200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7D8A49A0-1A63-6943-82D6-C193E6102C72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914400" y="2057400"/>
            <a:ext cx="4876800" cy="4114800"/>
          </a:xfrm>
        </p:spPr>
        <p:txBody>
          <a:bodyPr>
            <a:normAutofit/>
          </a:bodyPr>
          <a:lstStyle>
            <a:lvl1pPr>
              <a:defRPr sz="2000">
                <a:solidFill>
                  <a:srgbClr val="6C6463"/>
                </a:solidFill>
              </a:defRPr>
            </a:lvl1pPr>
            <a:lvl2pPr>
              <a:defRPr sz="1800">
                <a:solidFill>
                  <a:srgbClr val="6C6463"/>
                </a:solidFill>
              </a:defRPr>
            </a:lvl2pPr>
            <a:lvl3pPr>
              <a:defRPr sz="1600">
                <a:solidFill>
                  <a:srgbClr val="6C6463"/>
                </a:solidFill>
              </a:defRPr>
            </a:lvl3pPr>
            <a:lvl4pPr>
              <a:defRPr sz="1400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914401" y="843987"/>
            <a:ext cx="4876395" cy="954107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0494089" y="14316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</p:spTree>
    <p:extLst>
      <p:ext uri="{BB962C8B-B14F-4D97-AF65-F5344CB8AC3E}">
        <p14:creationId xmlns:p14="http://schemas.microsoft.com/office/powerpoint/2010/main" val="215147763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/White Title + Lef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203200" y="152400"/>
            <a:ext cx="5892800" cy="6553200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20934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4601289" y="1431666"/>
            <a:ext cx="2743200" cy="184666"/>
          </a:xfrm>
        </p:spPr>
        <p:txBody>
          <a:bodyPr>
            <a:spAutoFit/>
          </a:bodyPr>
          <a:lstStyle>
            <a:lvl1pPr marL="0" indent="0" algn="r">
              <a:buNone/>
              <a:defRPr sz="600" baseline="0">
                <a:solidFill>
                  <a:srgbClr val="FFFFFF"/>
                </a:solidFill>
              </a:defRPr>
            </a:lvl1pPr>
            <a:lvl2pPr marL="230187" indent="0">
              <a:buNone/>
              <a:defRPr sz="1800">
                <a:solidFill>
                  <a:schemeClr val="bg1"/>
                </a:solidFill>
              </a:defRPr>
            </a:lvl2pPr>
            <a:lvl3pPr marL="460375" indent="0">
              <a:buNone/>
              <a:defRPr sz="1600">
                <a:solidFill>
                  <a:schemeClr val="bg1"/>
                </a:solidFill>
              </a:defRPr>
            </a:lvl3pPr>
            <a:lvl4pPr marL="684212" indent="0">
              <a:buNone/>
              <a:defRPr sz="1400">
                <a:solidFill>
                  <a:schemeClr val="bg1"/>
                </a:solidFill>
              </a:defRPr>
            </a:lvl4pPr>
            <a:lvl5pPr marL="1025525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6502805" y="2971803"/>
            <a:ext cx="5181195" cy="954107"/>
          </a:xfrm>
        </p:spPr>
        <p:txBody>
          <a:bodyPr wrap="square" anchor="ctr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9138459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396" y="3692"/>
            <a:ext cx="12201685" cy="6854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9" name="Freeform 8"/>
          <p:cNvSpPr/>
          <p:nvPr userDrawn="1"/>
        </p:nvSpPr>
        <p:spPr>
          <a:xfrm>
            <a:off x="-11936" y="-3148"/>
            <a:ext cx="11931119" cy="6867762"/>
          </a:xfrm>
          <a:custGeom>
            <a:avLst/>
            <a:gdLst>
              <a:gd name="connsiteX0" fmla="*/ 1643975 w 8501975"/>
              <a:gd name="connsiteY0" fmla="*/ 0 h 5175115"/>
              <a:gd name="connsiteX1" fmla="*/ 8501975 w 8501975"/>
              <a:gd name="connsiteY1" fmla="*/ 19455 h 5175115"/>
              <a:gd name="connsiteX2" fmla="*/ 4289898 w 8501975"/>
              <a:gd name="connsiteY2" fmla="*/ 5175115 h 5175115"/>
              <a:gd name="connsiteX3" fmla="*/ 0 w 8501975"/>
              <a:gd name="connsiteY3" fmla="*/ 5175115 h 5175115"/>
              <a:gd name="connsiteX4" fmla="*/ 0 w 8501975"/>
              <a:gd name="connsiteY4" fmla="*/ 4027251 h 5175115"/>
              <a:gd name="connsiteX5" fmla="*/ 1643975 w 8501975"/>
              <a:gd name="connsiteY5" fmla="*/ 0 h 5175115"/>
              <a:gd name="connsiteX0" fmla="*/ 1649126 w 8507126"/>
              <a:gd name="connsiteY0" fmla="*/ 0 h 5175115"/>
              <a:gd name="connsiteX1" fmla="*/ 8507126 w 8507126"/>
              <a:gd name="connsiteY1" fmla="*/ 19455 h 5175115"/>
              <a:gd name="connsiteX2" fmla="*/ 4295049 w 8507126"/>
              <a:gd name="connsiteY2" fmla="*/ 5175115 h 5175115"/>
              <a:gd name="connsiteX3" fmla="*/ 5151 w 8507126"/>
              <a:gd name="connsiteY3" fmla="*/ 5175115 h 5175115"/>
              <a:gd name="connsiteX4" fmla="*/ 0 w 8507126"/>
              <a:gd name="connsiteY4" fmla="*/ 4037554 h 5175115"/>
              <a:gd name="connsiteX5" fmla="*/ 1649126 w 8507126"/>
              <a:gd name="connsiteY5" fmla="*/ 0 h 5175115"/>
              <a:gd name="connsiteX0" fmla="*/ 1649127 w 8507127"/>
              <a:gd name="connsiteY0" fmla="*/ 0 h 5175115"/>
              <a:gd name="connsiteX1" fmla="*/ 8507127 w 8507127"/>
              <a:gd name="connsiteY1" fmla="*/ 19455 h 5175115"/>
              <a:gd name="connsiteX2" fmla="*/ 4295050 w 8507127"/>
              <a:gd name="connsiteY2" fmla="*/ 5175115 h 5175115"/>
              <a:gd name="connsiteX3" fmla="*/ 0 w 8507127"/>
              <a:gd name="connsiteY3" fmla="*/ 5175115 h 5175115"/>
              <a:gd name="connsiteX4" fmla="*/ 1 w 8507127"/>
              <a:gd name="connsiteY4" fmla="*/ 4037554 h 5175115"/>
              <a:gd name="connsiteX5" fmla="*/ 1649127 w 8507127"/>
              <a:gd name="connsiteY5" fmla="*/ 0 h 5175115"/>
              <a:gd name="connsiteX0" fmla="*/ 1690339 w 8507127"/>
              <a:gd name="connsiteY0" fmla="*/ 34637 h 5155660"/>
              <a:gd name="connsiteX1" fmla="*/ 8507127 w 8507127"/>
              <a:gd name="connsiteY1" fmla="*/ 0 h 5155660"/>
              <a:gd name="connsiteX2" fmla="*/ 4295050 w 8507127"/>
              <a:gd name="connsiteY2" fmla="*/ 5155660 h 5155660"/>
              <a:gd name="connsiteX3" fmla="*/ 0 w 8507127"/>
              <a:gd name="connsiteY3" fmla="*/ 5155660 h 5155660"/>
              <a:gd name="connsiteX4" fmla="*/ 1 w 8507127"/>
              <a:gd name="connsiteY4" fmla="*/ 4018099 h 5155660"/>
              <a:gd name="connsiteX5" fmla="*/ 1690339 w 8507127"/>
              <a:gd name="connsiteY5" fmla="*/ 34637 h 5155660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 w 8507127"/>
              <a:gd name="connsiteY4" fmla="*/ 4019523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46365 w 8507127"/>
              <a:gd name="connsiteY4" fmla="*/ 4006644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5455 w 8507127"/>
              <a:gd name="connsiteY4" fmla="*/ 3973159 h 5157084"/>
              <a:gd name="connsiteX5" fmla="*/ 1651702 w 8507127"/>
              <a:gd name="connsiteY5" fmla="*/ 0 h 5157084"/>
              <a:gd name="connsiteX0" fmla="*/ 1636247 w 8491672"/>
              <a:gd name="connsiteY0" fmla="*/ 0 h 5157084"/>
              <a:gd name="connsiteX1" fmla="*/ 8491672 w 8491672"/>
              <a:gd name="connsiteY1" fmla="*/ 1424 h 5157084"/>
              <a:gd name="connsiteX2" fmla="*/ 4279595 w 8491672"/>
              <a:gd name="connsiteY2" fmla="*/ 5157084 h 5157084"/>
              <a:gd name="connsiteX3" fmla="*/ 64394 w 8491672"/>
              <a:gd name="connsiteY3" fmla="*/ 5157084 h 5157084"/>
              <a:gd name="connsiteX4" fmla="*/ 0 w 8491672"/>
              <a:gd name="connsiteY4" fmla="*/ 3973159 h 5157084"/>
              <a:gd name="connsiteX5" fmla="*/ 1636247 w 8491672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2576 w 8494248"/>
              <a:gd name="connsiteY4" fmla="*/ 3973159 h 5157084"/>
              <a:gd name="connsiteX5" fmla="*/ 1638823 w 8494248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38637 w 8494248"/>
              <a:gd name="connsiteY4" fmla="*/ 4029826 h 5157084"/>
              <a:gd name="connsiteX5" fmla="*/ 1638823 w 8494248"/>
              <a:gd name="connsiteY5" fmla="*/ 0 h 5157084"/>
              <a:gd name="connsiteX0" fmla="*/ 1641398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41398 w 8496823"/>
              <a:gd name="connsiteY5" fmla="*/ 0 h 5157084"/>
              <a:gd name="connsiteX0" fmla="*/ 1638256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38256 w 8496823"/>
              <a:gd name="connsiteY5" fmla="*/ 0 h 5157084"/>
              <a:gd name="connsiteX0" fmla="*/ 1638256 w 8496823"/>
              <a:gd name="connsiteY0" fmla="*/ 0 h 6846184"/>
              <a:gd name="connsiteX1" fmla="*/ 8496823 w 8496823"/>
              <a:gd name="connsiteY1" fmla="*/ 1424 h 6846184"/>
              <a:gd name="connsiteX2" fmla="*/ 2900446 w 8496823"/>
              <a:gd name="connsiteY2" fmla="*/ 6846184 h 6846184"/>
              <a:gd name="connsiteX3" fmla="*/ 2575 w 8496823"/>
              <a:gd name="connsiteY3" fmla="*/ 5157084 h 6846184"/>
              <a:gd name="connsiteX4" fmla="*/ 0 w 8496823"/>
              <a:gd name="connsiteY4" fmla="*/ 3983462 h 6846184"/>
              <a:gd name="connsiteX5" fmla="*/ 1638256 w 8496823"/>
              <a:gd name="connsiteY5" fmla="*/ 0 h 6846184"/>
              <a:gd name="connsiteX0" fmla="*/ 16483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648381 w 8506948"/>
              <a:gd name="connsiteY5" fmla="*/ 0 h 6858884"/>
              <a:gd name="connsiteX0" fmla="*/ 15975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597581 w 8506948"/>
              <a:gd name="connsiteY5" fmla="*/ 0 h 6858884"/>
              <a:gd name="connsiteX0" fmla="*/ 2083733 w 8993100"/>
              <a:gd name="connsiteY0" fmla="*/ 0 h 6858884"/>
              <a:gd name="connsiteX1" fmla="*/ 8993100 w 8993100"/>
              <a:gd name="connsiteY1" fmla="*/ 1424 h 6858884"/>
              <a:gd name="connsiteX2" fmla="*/ 3396723 w 8993100"/>
              <a:gd name="connsiteY2" fmla="*/ 6846184 h 6858884"/>
              <a:gd name="connsiteX3" fmla="*/ 486152 w 8993100"/>
              <a:gd name="connsiteY3" fmla="*/ 6858884 h 6858884"/>
              <a:gd name="connsiteX4" fmla="*/ 0 w 8993100"/>
              <a:gd name="connsiteY4" fmla="*/ 5136231 h 6858884"/>
              <a:gd name="connsiteX5" fmla="*/ 2083733 w 8993100"/>
              <a:gd name="connsiteY5" fmla="*/ 0 h 6858884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36231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57907"/>
              <a:gd name="connsiteX1" fmla="*/ 8993100 w 8993100"/>
              <a:gd name="connsiteY1" fmla="*/ 1424 h 6857907"/>
              <a:gd name="connsiteX2" fmla="*/ 3388908 w 8993100"/>
              <a:gd name="connsiteY2" fmla="*/ 6857907 h 6857907"/>
              <a:gd name="connsiteX3" fmla="*/ 99290 w 8993100"/>
              <a:gd name="connsiteY3" fmla="*/ 6851069 h 6857907"/>
              <a:gd name="connsiteX4" fmla="*/ 0 w 8993100"/>
              <a:gd name="connsiteY4" fmla="*/ 5124508 h 6857907"/>
              <a:gd name="connsiteX5" fmla="*/ 2083733 w 8993100"/>
              <a:gd name="connsiteY5" fmla="*/ 0 h 6857907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5505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7554"/>
              <a:gd name="connsiteX1" fmla="*/ 8993100 w 8993100"/>
              <a:gd name="connsiteY1" fmla="*/ 6186 h 6867554"/>
              <a:gd name="connsiteX2" fmla="*/ 3388908 w 8993100"/>
              <a:gd name="connsiteY2" fmla="*/ 6862669 h 6867554"/>
              <a:gd name="connsiteX3" fmla="*/ 5505 w 8993100"/>
              <a:gd name="connsiteY3" fmla="*/ 6867554 h 6867554"/>
              <a:gd name="connsiteX4" fmla="*/ 0 w 8993100"/>
              <a:gd name="connsiteY4" fmla="*/ 5129270 h 6867554"/>
              <a:gd name="connsiteX5" fmla="*/ 2083733 w 8993100"/>
              <a:gd name="connsiteY5" fmla="*/ 0 h 6867554"/>
              <a:gd name="connsiteX0" fmla="*/ 2083733 w 8791676"/>
              <a:gd name="connsiteY0" fmla="*/ 0 h 6867554"/>
              <a:gd name="connsiteX1" fmla="*/ 8791676 w 8791676"/>
              <a:gd name="connsiteY1" fmla="*/ 22172 h 6867554"/>
              <a:gd name="connsiteX2" fmla="*/ 3388908 w 8791676"/>
              <a:gd name="connsiteY2" fmla="*/ 6862669 h 6867554"/>
              <a:gd name="connsiteX3" fmla="*/ 5505 w 8791676"/>
              <a:gd name="connsiteY3" fmla="*/ 6867554 h 6867554"/>
              <a:gd name="connsiteX4" fmla="*/ 0 w 8791676"/>
              <a:gd name="connsiteY4" fmla="*/ 5129270 h 6867554"/>
              <a:gd name="connsiteX5" fmla="*/ 2083733 w 8791676"/>
              <a:gd name="connsiteY5" fmla="*/ 0 h 6867554"/>
              <a:gd name="connsiteX0" fmla="*/ 2083733 w 8948339"/>
              <a:gd name="connsiteY0" fmla="*/ 208 h 6867762"/>
              <a:gd name="connsiteX1" fmla="*/ 8948339 w 8948339"/>
              <a:gd name="connsiteY1" fmla="*/ 0 h 6867762"/>
              <a:gd name="connsiteX2" fmla="*/ 3388908 w 8948339"/>
              <a:gd name="connsiteY2" fmla="*/ 6862877 h 6867762"/>
              <a:gd name="connsiteX3" fmla="*/ 5505 w 8948339"/>
              <a:gd name="connsiteY3" fmla="*/ 6867762 h 6867762"/>
              <a:gd name="connsiteX4" fmla="*/ 0 w 8948339"/>
              <a:gd name="connsiteY4" fmla="*/ 5129478 h 6867762"/>
              <a:gd name="connsiteX5" fmla="*/ 2083733 w 8948339"/>
              <a:gd name="connsiteY5" fmla="*/ 208 h 686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48339" h="6867762">
                <a:moveTo>
                  <a:pt x="2083733" y="208"/>
                </a:moveTo>
                <a:lnTo>
                  <a:pt x="8948339" y="0"/>
                </a:lnTo>
                <a:lnTo>
                  <a:pt x="3388908" y="6862877"/>
                </a:lnTo>
                <a:lnTo>
                  <a:pt x="5505" y="6867762"/>
                </a:lnTo>
                <a:cubicBezTo>
                  <a:pt x="5505" y="6488575"/>
                  <a:pt x="0" y="5508665"/>
                  <a:pt x="0" y="5129478"/>
                </a:cubicBezTo>
                <a:lnTo>
                  <a:pt x="2083733" y="208"/>
                </a:lnTo>
                <a:close/>
              </a:path>
            </a:pathLst>
          </a:cu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866737" y="3588760"/>
            <a:ext cx="6604000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1866741" y="3692359"/>
            <a:ext cx="5576799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sz="1600" dirty="0"/>
              <a:t>Click to edit SUB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1866741" y="3059451"/>
            <a:ext cx="6154313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9976" y="6197565"/>
            <a:ext cx="2658995" cy="34383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1866737" y="4200993"/>
            <a:ext cx="4267200" cy="347472"/>
          </a:xfrm>
        </p:spPr>
        <p:txBody>
          <a:bodyPr anchor="ctr"/>
          <a:lstStyle>
            <a:lvl1pPr marL="0" indent="0">
              <a:buNone/>
              <a:defRPr sz="16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Dat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1866737" y="4889321"/>
            <a:ext cx="4267200" cy="347472"/>
          </a:xfrm>
        </p:spPr>
        <p:txBody>
          <a:bodyPr anchor="ctr"/>
          <a:lstStyle>
            <a:lvl1pPr marL="0" indent="0">
              <a:buNone/>
              <a:defRPr sz="105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vigant Reference No:</a:t>
            </a:r>
          </a:p>
        </p:txBody>
      </p:sp>
      <p:sp>
        <p:nvSpPr>
          <p:cNvPr id="15" name="Freeform 14"/>
          <p:cNvSpPr/>
          <p:nvPr userDrawn="1"/>
        </p:nvSpPr>
        <p:spPr>
          <a:xfrm>
            <a:off x="-8596" y="-3908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84348592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2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"/>
          <p:cNvSpPr>
            <a:spLocks noGrp="1"/>
          </p:cNvSpPr>
          <p:nvPr>
            <p:ph idx="1"/>
          </p:nvPr>
        </p:nvSpPr>
        <p:spPr bwMode="gray">
          <a:xfrm>
            <a:off x="287453" y="1341114"/>
            <a:ext cx="116256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9" name="Title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6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50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34253598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"/>
          <p:cNvSpPr>
            <a:spLocks noGrp="1"/>
          </p:cNvSpPr>
          <p:nvPr>
            <p:ph idx="1"/>
          </p:nvPr>
        </p:nvSpPr>
        <p:spPr bwMode="gray">
          <a:xfrm>
            <a:off x="287453" y="1944002"/>
            <a:ext cx="11625600" cy="422515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4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8" name="Heading 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87453" y="1341117"/>
            <a:ext cx="11625600" cy="43088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4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4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4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6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50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85881599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9" y="3"/>
            <a:ext cx="6095999" cy="68571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9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8947054" y="858420"/>
            <a:ext cx="2963436" cy="4842504"/>
          </a:xfrm>
          <a:prstGeom prst="rect">
            <a:avLst/>
          </a:prstGeom>
        </p:spPr>
        <p:txBody>
          <a:bodyPr vert="horz" lIns="0" rIns="0" bIns="0" anchor="ctr"/>
          <a:lstStyle>
            <a:lvl1pPr marL="0" indent="0">
              <a:buFontTx/>
              <a:buNone/>
              <a:defRPr sz="2000" cap="all" baseline="0">
                <a:solidFill>
                  <a:srgbClr val="555759"/>
                </a:solidFill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ection #:</a:t>
            </a:r>
          </a:p>
          <a:p>
            <a:pPr lvl="0"/>
            <a:r>
              <a:rPr lang="en-US" dirty="0"/>
              <a:t>Click to add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1" y="6400190"/>
            <a:ext cx="1303209" cy="168518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1" y="868"/>
            <a:ext cx="6096000" cy="6857135"/>
          </a:xfrm>
          <a:prstGeom prst="rect">
            <a:avLst/>
          </a:pr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2527" y="858420"/>
            <a:ext cx="5246949" cy="4842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342243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Right"/>
          <p:cNvSpPr>
            <a:spLocks noGrp="1"/>
          </p:cNvSpPr>
          <p:nvPr>
            <p:ph idx="11"/>
          </p:nvPr>
        </p:nvSpPr>
        <p:spPr bwMode="gray">
          <a:xfrm>
            <a:off x="6393053" y="1341114"/>
            <a:ext cx="552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5" name="Content Left"/>
          <p:cNvSpPr>
            <a:spLocks noGrp="1"/>
          </p:cNvSpPr>
          <p:nvPr>
            <p:ph idx="1"/>
          </p:nvPr>
        </p:nvSpPr>
        <p:spPr bwMode="gray">
          <a:xfrm>
            <a:off x="287455" y="1341114"/>
            <a:ext cx="552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8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50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19287883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Right"/>
          <p:cNvSpPr>
            <a:spLocks noGrp="1"/>
          </p:cNvSpPr>
          <p:nvPr>
            <p:ph idx="11"/>
          </p:nvPr>
        </p:nvSpPr>
        <p:spPr bwMode="gray">
          <a:xfrm>
            <a:off x="6393053" y="1882448"/>
            <a:ext cx="552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5" name="Content Left"/>
          <p:cNvSpPr>
            <a:spLocks noGrp="1"/>
          </p:cNvSpPr>
          <p:nvPr>
            <p:ph idx="1"/>
          </p:nvPr>
        </p:nvSpPr>
        <p:spPr bwMode="gray">
          <a:xfrm>
            <a:off x="287451" y="1882448"/>
            <a:ext cx="552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4" name="Heading Right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393053" y="1341114"/>
            <a:ext cx="5520000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3" name="Heading Left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87455" y="1341114"/>
            <a:ext cx="5520000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50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7929040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396" y="3692"/>
            <a:ext cx="12201685" cy="6854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9" name="Freeform 8"/>
          <p:cNvSpPr/>
          <p:nvPr userDrawn="1"/>
        </p:nvSpPr>
        <p:spPr>
          <a:xfrm>
            <a:off x="-11936" y="-3148"/>
            <a:ext cx="11931119" cy="6867762"/>
          </a:xfrm>
          <a:custGeom>
            <a:avLst/>
            <a:gdLst>
              <a:gd name="connsiteX0" fmla="*/ 1643975 w 8501975"/>
              <a:gd name="connsiteY0" fmla="*/ 0 h 5175115"/>
              <a:gd name="connsiteX1" fmla="*/ 8501975 w 8501975"/>
              <a:gd name="connsiteY1" fmla="*/ 19455 h 5175115"/>
              <a:gd name="connsiteX2" fmla="*/ 4289898 w 8501975"/>
              <a:gd name="connsiteY2" fmla="*/ 5175115 h 5175115"/>
              <a:gd name="connsiteX3" fmla="*/ 0 w 8501975"/>
              <a:gd name="connsiteY3" fmla="*/ 5175115 h 5175115"/>
              <a:gd name="connsiteX4" fmla="*/ 0 w 8501975"/>
              <a:gd name="connsiteY4" fmla="*/ 4027251 h 5175115"/>
              <a:gd name="connsiteX5" fmla="*/ 1643975 w 8501975"/>
              <a:gd name="connsiteY5" fmla="*/ 0 h 5175115"/>
              <a:gd name="connsiteX0" fmla="*/ 1649126 w 8507126"/>
              <a:gd name="connsiteY0" fmla="*/ 0 h 5175115"/>
              <a:gd name="connsiteX1" fmla="*/ 8507126 w 8507126"/>
              <a:gd name="connsiteY1" fmla="*/ 19455 h 5175115"/>
              <a:gd name="connsiteX2" fmla="*/ 4295049 w 8507126"/>
              <a:gd name="connsiteY2" fmla="*/ 5175115 h 5175115"/>
              <a:gd name="connsiteX3" fmla="*/ 5151 w 8507126"/>
              <a:gd name="connsiteY3" fmla="*/ 5175115 h 5175115"/>
              <a:gd name="connsiteX4" fmla="*/ 0 w 8507126"/>
              <a:gd name="connsiteY4" fmla="*/ 4037554 h 5175115"/>
              <a:gd name="connsiteX5" fmla="*/ 1649126 w 8507126"/>
              <a:gd name="connsiteY5" fmla="*/ 0 h 5175115"/>
              <a:gd name="connsiteX0" fmla="*/ 1649127 w 8507127"/>
              <a:gd name="connsiteY0" fmla="*/ 0 h 5175115"/>
              <a:gd name="connsiteX1" fmla="*/ 8507127 w 8507127"/>
              <a:gd name="connsiteY1" fmla="*/ 19455 h 5175115"/>
              <a:gd name="connsiteX2" fmla="*/ 4295050 w 8507127"/>
              <a:gd name="connsiteY2" fmla="*/ 5175115 h 5175115"/>
              <a:gd name="connsiteX3" fmla="*/ 0 w 8507127"/>
              <a:gd name="connsiteY3" fmla="*/ 5175115 h 5175115"/>
              <a:gd name="connsiteX4" fmla="*/ 1 w 8507127"/>
              <a:gd name="connsiteY4" fmla="*/ 4037554 h 5175115"/>
              <a:gd name="connsiteX5" fmla="*/ 1649127 w 8507127"/>
              <a:gd name="connsiteY5" fmla="*/ 0 h 5175115"/>
              <a:gd name="connsiteX0" fmla="*/ 1690339 w 8507127"/>
              <a:gd name="connsiteY0" fmla="*/ 34637 h 5155660"/>
              <a:gd name="connsiteX1" fmla="*/ 8507127 w 8507127"/>
              <a:gd name="connsiteY1" fmla="*/ 0 h 5155660"/>
              <a:gd name="connsiteX2" fmla="*/ 4295050 w 8507127"/>
              <a:gd name="connsiteY2" fmla="*/ 5155660 h 5155660"/>
              <a:gd name="connsiteX3" fmla="*/ 0 w 8507127"/>
              <a:gd name="connsiteY3" fmla="*/ 5155660 h 5155660"/>
              <a:gd name="connsiteX4" fmla="*/ 1 w 8507127"/>
              <a:gd name="connsiteY4" fmla="*/ 4018099 h 5155660"/>
              <a:gd name="connsiteX5" fmla="*/ 1690339 w 8507127"/>
              <a:gd name="connsiteY5" fmla="*/ 34637 h 5155660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 w 8507127"/>
              <a:gd name="connsiteY4" fmla="*/ 4019523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46365 w 8507127"/>
              <a:gd name="connsiteY4" fmla="*/ 4006644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5455 w 8507127"/>
              <a:gd name="connsiteY4" fmla="*/ 3973159 h 5157084"/>
              <a:gd name="connsiteX5" fmla="*/ 1651702 w 8507127"/>
              <a:gd name="connsiteY5" fmla="*/ 0 h 5157084"/>
              <a:gd name="connsiteX0" fmla="*/ 1636247 w 8491672"/>
              <a:gd name="connsiteY0" fmla="*/ 0 h 5157084"/>
              <a:gd name="connsiteX1" fmla="*/ 8491672 w 8491672"/>
              <a:gd name="connsiteY1" fmla="*/ 1424 h 5157084"/>
              <a:gd name="connsiteX2" fmla="*/ 4279595 w 8491672"/>
              <a:gd name="connsiteY2" fmla="*/ 5157084 h 5157084"/>
              <a:gd name="connsiteX3" fmla="*/ 64394 w 8491672"/>
              <a:gd name="connsiteY3" fmla="*/ 5157084 h 5157084"/>
              <a:gd name="connsiteX4" fmla="*/ 0 w 8491672"/>
              <a:gd name="connsiteY4" fmla="*/ 3973159 h 5157084"/>
              <a:gd name="connsiteX5" fmla="*/ 1636247 w 8491672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2576 w 8494248"/>
              <a:gd name="connsiteY4" fmla="*/ 3973159 h 5157084"/>
              <a:gd name="connsiteX5" fmla="*/ 1638823 w 8494248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38637 w 8494248"/>
              <a:gd name="connsiteY4" fmla="*/ 4029826 h 5157084"/>
              <a:gd name="connsiteX5" fmla="*/ 1638823 w 8494248"/>
              <a:gd name="connsiteY5" fmla="*/ 0 h 5157084"/>
              <a:gd name="connsiteX0" fmla="*/ 1641398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41398 w 8496823"/>
              <a:gd name="connsiteY5" fmla="*/ 0 h 5157084"/>
              <a:gd name="connsiteX0" fmla="*/ 1638256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38256 w 8496823"/>
              <a:gd name="connsiteY5" fmla="*/ 0 h 5157084"/>
              <a:gd name="connsiteX0" fmla="*/ 1638256 w 8496823"/>
              <a:gd name="connsiteY0" fmla="*/ 0 h 6846184"/>
              <a:gd name="connsiteX1" fmla="*/ 8496823 w 8496823"/>
              <a:gd name="connsiteY1" fmla="*/ 1424 h 6846184"/>
              <a:gd name="connsiteX2" fmla="*/ 2900446 w 8496823"/>
              <a:gd name="connsiteY2" fmla="*/ 6846184 h 6846184"/>
              <a:gd name="connsiteX3" fmla="*/ 2575 w 8496823"/>
              <a:gd name="connsiteY3" fmla="*/ 5157084 h 6846184"/>
              <a:gd name="connsiteX4" fmla="*/ 0 w 8496823"/>
              <a:gd name="connsiteY4" fmla="*/ 3983462 h 6846184"/>
              <a:gd name="connsiteX5" fmla="*/ 1638256 w 8496823"/>
              <a:gd name="connsiteY5" fmla="*/ 0 h 6846184"/>
              <a:gd name="connsiteX0" fmla="*/ 16483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648381 w 8506948"/>
              <a:gd name="connsiteY5" fmla="*/ 0 h 6858884"/>
              <a:gd name="connsiteX0" fmla="*/ 15975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597581 w 8506948"/>
              <a:gd name="connsiteY5" fmla="*/ 0 h 6858884"/>
              <a:gd name="connsiteX0" fmla="*/ 2083733 w 8993100"/>
              <a:gd name="connsiteY0" fmla="*/ 0 h 6858884"/>
              <a:gd name="connsiteX1" fmla="*/ 8993100 w 8993100"/>
              <a:gd name="connsiteY1" fmla="*/ 1424 h 6858884"/>
              <a:gd name="connsiteX2" fmla="*/ 3396723 w 8993100"/>
              <a:gd name="connsiteY2" fmla="*/ 6846184 h 6858884"/>
              <a:gd name="connsiteX3" fmla="*/ 486152 w 8993100"/>
              <a:gd name="connsiteY3" fmla="*/ 6858884 h 6858884"/>
              <a:gd name="connsiteX4" fmla="*/ 0 w 8993100"/>
              <a:gd name="connsiteY4" fmla="*/ 5136231 h 6858884"/>
              <a:gd name="connsiteX5" fmla="*/ 2083733 w 8993100"/>
              <a:gd name="connsiteY5" fmla="*/ 0 h 6858884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36231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57907"/>
              <a:gd name="connsiteX1" fmla="*/ 8993100 w 8993100"/>
              <a:gd name="connsiteY1" fmla="*/ 1424 h 6857907"/>
              <a:gd name="connsiteX2" fmla="*/ 3388908 w 8993100"/>
              <a:gd name="connsiteY2" fmla="*/ 6857907 h 6857907"/>
              <a:gd name="connsiteX3" fmla="*/ 99290 w 8993100"/>
              <a:gd name="connsiteY3" fmla="*/ 6851069 h 6857907"/>
              <a:gd name="connsiteX4" fmla="*/ 0 w 8993100"/>
              <a:gd name="connsiteY4" fmla="*/ 5124508 h 6857907"/>
              <a:gd name="connsiteX5" fmla="*/ 2083733 w 8993100"/>
              <a:gd name="connsiteY5" fmla="*/ 0 h 6857907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5505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7554"/>
              <a:gd name="connsiteX1" fmla="*/ 8993100 w 8993100"/>
              <a:gd name="connsiteY1" fmla="*/ 6186 h 6867554"/>
              <a:gd name="connsiteX2" fmla="*/ 3388908 w 8993100"/>
              <a:gd name="connsiteY2" fmla="*/ 6862669 h 6867554"/>
              <a:gd name="connsiteX3" fmla="*/ 5505 w 8993100"/>
              <a:gd name="connsiteY3" fmla="*/ 6867554 h 6867554"/>
              <a:gd name="connsiteX4" fmla="*/ 0 w 8993100"/>
              <a:gd name="connsiteY4" fmla="*/ 5129270 h 6867554"/>
              <a:gd name="connsiteX5" fmla="*/ 2083733 w 8993100"/>
              <a:gd name="connsiteY5" fmla="*/ 0 h 6867554"/>
              <a:gd name="connsiteX0" fmla="*/ 2083733 w 8791676"/>
              <a:gd name="connsiteY0" fmla="*/ 0 h 6867554"/>
              <a:gd name="connsiteX1" fmla="*/ 8791676 w 8791676"/>
              <a:gd name="connsiteY1" fmla="*/ 22172 h 6867554"/>
              <a:gd name="connsiteX2" fmla="*/ 3388908 w 8791676"/>
              <a:gd name="connsiteY2" fmla="*/ 6862669 h 6867554"/>
              <a:gd name="connsiteX3" fmla="*/ 5505 w 8791676"/>
              <a:gd name="connsiteY3" fmla="*/ 6867554 h 6867554"/>
              <a:gd name="connsiteX4" fmla="*/ 0 w 8791676"/>
              <a:gd name="connsiteY4" fmla="*/ 5129270 h 6867554"/>
              <a:gd name="connsiteX5" fmla="*/ 2083733 w 8791676"/>
              <a:gd name="connsiteY5" fmla="*/ 0 h 6867554"/>
              <a:gd name="connsiteX0" fmla="*/ 2083733 w 8948339"/>
              <a:gd name="connsiteY0" fmla="*/ 208 h 6867762"/>
              <a:gd name="connsiteX1" fmla="*/ 8948339 w 8948339"/>
              <a:gd name="connsiteY1" fmla="*/ 0 h 6867762"/>
              <a:gd name="connsiteX2" fmla="*/ 3388908 w 8948339"/>
              <a:gd name="connsiteY2" fmla="*/ 6862877 h 6867762"/>
              <a:gd name="connsiteX3" fmla="*/ 5505 w 8948339"/>
              <a:gd name="connsiteY3" fmla="*/ 6867762 h 6867762"/>
              <a:gd name="connsiteX4" fmla="*/ 0 w 8948339"/>
              <a:gd name="connsiteY4" fmla="*/ 5129478 h 6867762"/>
              <a:gd name="connsiteX5" fmla="*/ 2083733 w 8948339"/>
              <a:gd name="connsiteY5" fmla="*/ 208 h 686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48339" h="6867762">
                <a:moveTo>
                  <a:pt x="2083733" y="208"/>
                </a:moveTo>
                <a:lnTo>
                  <a:pt x="8948339" y="0"/>
                </a:lnTo>
                <a:lnTo>
                  <a:pt x="3388908" y="6862877"/>
                </a:lnTo>
                <a:lnTo>
                  <a:pt x="5505" y="6867762"/>
                </a:lnTo>
                <a:cubicBezTo>
                  <a:pt x="5505" y="6488575"/>
                  <a:pt x="0" y="5508665"/>
                  <a:pt x="0" y="5129478"/>
                </a:cubicBezTo>
                <a:lnTo>
                  <a:pt x="2083733" y="208"/>
                </a:ln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866737" y="3588760"/>
            <a:ext cx="6604000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1866741" y="3692359"/>
            <a:ext cx="5576799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sz="1600" dirty="0"/>
              <a:t>Click to edit SUB 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1866741" y="3059451"/>
            <a:ext cx="6154313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accent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Freeform 14"/>
          <p:cNvSpPr/>
          <p:nvPr userDrawn="1"/>
        </p:nvSpPr>
        <p:spPr>
          <a:xfrm>
            <a:off x="-8596" y="-3908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4141" y="5666597"/>
            <a:ext cx="3174831" cy="87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844107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Right Bottom"/>
          <p:cNvSpPr>
            <a:spLocks noGrp="1"/>
          </p:cNvSpPr>
          <p:nvPr>
            <p:ph idx="27"/>
          </p:nvPr>
        </p:nvSpPr>
        <p:spPr bwMode="gray">
          <a:xfrm>
            <a:off x="6393053" y="3842318"/>
            <a:ext cx="5520000" cy="232684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4" name="Content Left Bottom"/>
          <p:cNvSpPr>
            <a:spLocks noGrp="1"/>
          </p:cNvSpPr>
          <p:nvPr>
            <p:ph idx="28"/>
          </p:nvPr>
        </p:nvSpPr>
        <p:spPr bwMode="gray">
          <a:xfrm>
            <a:off x="287455" y="3842318"/>
            <a:ext cx="5520000" cy="232684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8" name="Content Right Top"/>
          <p:cNvSpPr>
            <a:spLocks noGrp="1"/>
          </p:cNvSpPr>
          <p:nvPr>
            <p:ph idx="26"/>
          </p:nvPr>
        </p:nvSpPr>
        <p:spPr bwMode="gray">
          <a:xfrm>
            <a:off x="6393053" y="1341114"/>
            <a:ext cx="5520000" cy="23256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9" name="Content Left Top"/>
          <p:cNvSpPr>
            <a:spLocks noGrp="1"/>
          </p:cNvSpPr>
          <p:nvPr>
            <p:ph idx="1"/>
          </p:nvPr>
        </p:nvSpPr>
        <p:spPr bwMode="gray">
          <a:xfrm>
            <a:off x="287455" y="1341114"/>
            <a:ext cx="5520000" cy="23256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0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11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50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358344322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Right Top"/>
          <p:cNvSpPr>
            <a:spLocks noGrp="1"/>
          </p:cNvSpPr>
          <p:nvPr>
            <p:ph idx="29"/>
          </p:nvPr>
        </p:nvSpPr>
        <p:spPr bwMode="gray">
          <a:xfrm>
            <a:off x="6393053" y="1814188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9" name="Content Left Top"/>
          <p:cNvSpPr>
            <a:spLocks noGrp="1"/>
          </p:cNvSpPr>
          <p:nvPr>
            <p:ph idx="1"/>
          </p:nvPr>
        </p:nvSpPr>
        <p:spPr bwMode="gray">
          <a:xfrm>
            <a:off x="287455" y="1814188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1" name="Heading Right Top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393053" y="1341117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0" name="Heading Left Top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87455" y="1341117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4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15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50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  <p:sp>
        <p:nvSpPr>
          <p:cNvPr id="21" name="Content Right Top"/>
          <p:cNvSpPr>
            <a:spLocks noGrp="1"/>
          </p:cNvSpPr>
          <p:nvPr>
            <p:ph idx="34"/>
          </p:nvPr>
        </p:nvSpPr>
        <p:spPr bwMode="gray">
          <a:xfrm>
            <a:off x="6393053" y="4316632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22" name="Content Left Top"/>
          <p:cNvSpPr>
            <a:spLocks noGrp="1"/>
          </p:cNvSpPr>
          <p:nvPr>
            <p:ph idx="35"/>
          </p:nvPr>
        </p:nvSpPr>
        <p:spPr bwMode="gray">
          <a:xfrm>
            <a:off x="287455" y="4316632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23" name="Heading Right Top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6393053" y="3843558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4" name="Heading Left Top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87455" y="3843558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882620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Right"/>
          <p:cNvSpPr>
            <a:spLocks noGrp="1"/>
          </p:cNvSpPr>
          <p:nvPr>
            <p:ph idx="27"/>
          </p:nvPr>
        </p:nvSpPr>
        <p:spPr bwMode="gray">
          <a:xfrm>
            <a:off x="8313053" y="1341114"/>
            <a:ext cx="360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4" name="Content Middle"/>
          <p:cNvSpPr>
            <a:spLocks noGrp="1"/>
          </p:cNvSpPr>
          <p:nvPr>
            <p:ph idx="26"/>
          </p:nvPr>
        </p:nvSpPr>
        <p:spPr bwMode="gray">
          <a:xfrm>
            <a:off x="4300252" y="1341114"/>
            <a:ext cx="360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3" name="Content Left"/>
          <p:cNvSpPr>
            <a:spLocks noGrp="1"/>
          </p:cNvSpPr>
          <p:nvPr>
            <p:ph idx="25"/>
          </p:nvPr>
        </p:nvSpPr>
        <p:spPr bwMode="gray">
          <a:xfrm>
            <a:off x="287452" y="1341114"/>
            <a:ext cx="360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7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6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50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42635657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Right"/>
          <p:cNvSpPr>
            <a:spLocks noGrp="1"/>
          </p:cNvSpPr>
          <p:nvPr>
            <p:ph idx="27"/>
          </p:nvPr>
        </p:nvSpPr>
        <p:spPr bwMode="gray">
          <a:xfrm>
            <a:off x="8313053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7" name="Content Middle"/>
          <p:cNvSpPr>
            <a:spLocks noGrp="1"/>
          </p:cNvSpPr>
          <p:nvPr>
            <p:ph idx="26"/>
          </p:nvPr>
        </p:nvSpPr>
        <p:spPr bwMode="gray">
          <a:xfrm>
            <a:off x="4300252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6" name="Content Left"/>
          <p:cNvSpPr>
            <a:spLocks noGrp="1"/>
          </p:cNvSpPr>
          <p:nvPr>
            <p:ph idx="25"/>
          </p:nvPr>
        </p:nvSpPr>
        <p:spPr bwMode="gray">
          <a:xfrm>
            <a:off x="287452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21" name="Heading Right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8313053" y="1337514"/>
            <a:ext cx="3600000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Heading Middl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00253" y="1337514"/>
            <a:ext cx="3600000" cy="369332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0" name="Heading Left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87453" y="1337514"/>
            <a:ext cx="3600000" cy="369332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0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50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780956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2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Right"/>
          <p:cNvSpPr>
            <a:spLocks noGrp="1"/>
          </p:cNvSpPr>
          <p:nvPr>
            <p:ph idx="28"/>
          </p:nvPr>
        </p:nvSpPr>
        <p:spPr bwMode="gray">
          <a:xfrm>
            <a:off x="8313053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9" name="Heading Right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8313053" y="1337514"/>
            <a:ext cx="3600000" cy="369332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12" name="Content Middle"/>
          <p:cNvSpPr>
            <a:spLocks noGrp="1"/>
          </p:cNvSpPr>
          <p:nvPr>
            <p:ph idx="26"/>
          </p:nvPr>
        </p:nvSpPr>
        <p:spPr bwMode="gray">
          <a:xfrm>
            <a:off x="287455" y="1882448"/>
            <a:ext cx="7612799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3" name="Heading Middl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87457" y="1337514"/>
            <a:ext cx="7612799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7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50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302775151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6463637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Gray Bar_Content+Table/Chart/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304804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85344" y="6365444"/>
            <a:ext cx="58521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3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87453" y="1403684"/>
            <a:ext cx="11623035" cy="11338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2075105" y="2627336"/>
            <a:ext cx="8056033" cy="431800"/>
          </a:xfrm>
        </p:spPr>
        <p:txBody>
          <a:bodyPr anchor="ctr"/>
          <a:lstStyle>
            <a:lvl1pPr marL="0" indent="0" algn="ctr">
              <a:buNone/>
              <a:defRPr sz="1600" b="1" baseline="0"/>
            </a:lvl1pPr>
          </a:lstStyle>
          <a:p>
            <a:pPr lvl="0"/>
            <a:r>
              <a:rPr lang="en-US" b="1" dirty="0"/>
              <a:t>Insert Table/Chart/Figure Title</a:t>
            </a:r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1"/>
          </p:nvPr>
        </p:nvSpPr>
        <p:spPr>
          <a:xfrm>
            <a:off x="2854258" y="3148935"/>
            <a:ext cx="6470185" cy="266891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2998603" y="5870239"/>
            <a:ext cx="2400300" cy="219075"/>
          </a:xfrm>
        </p:spPr>
        <p:txBody>
          <a:bodyPr anchor="ctr"/>
          <a:lstStyle>
            <a:lvl1pPr marL="0" indent="0">
              <a:buNone/>
              <a:defRPr sz="800" i="1" baseline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sz="800" i="1" dirty="0"/>
              <a:t>Insert source</a:t>
            </a:r>
            <a:endParaRPr lang="en-US" dirty="0"/>
          </a:p>
        </p:txBody>
      </p:sp>
      <p:sp>
        <p:nvSpPr>
          <p:cNvPr id="17" name="Text Placeholder 18"/>
          <p:cNvSpPr txBox="1">
            <a:spLocks/>
          </p:cNvSpPr>
          <p:nvPr userDrawn="1"/>
        </p:nvSpPr>
        <p:spPr>
          <a:xfrm>
            <a:off x="412683" y="6370119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– 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8" name="Picture 13" descr="Mission_Statement_RGB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1" y="6418196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24088562"/>
      </p:ext>
    </p:extLst>
  </p:cSld>
  <p:clrMapOvr>
    <a:masterClrMapping/>
  </p:clrMapOvr>
  <p:hf sldNum="0" hdr="0" dt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_Gray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4" name="Text Placeholder 18"/>
          <p:cNvSpPr txBox="1">
            <a:spLocks/>
          </p:cNvSpPr>
          <p:nvPr/>
        </p:nvSpPr>
        <p:spPr>
          <a:xfrm>
            <a:off x="412683" y="6370119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2016 </a:t>
            </a:r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Navigant – A </a:t>
            </a:r>
            <a:r>
              <a:rPr lang="en-US" sz="900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Guidehouse</a:t>
            </a:r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Company Consulting,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Inc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304804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/>
        </p:nvSpPr>
        <p:spPr>
          <a:xfrm>
            <a:off x="85344" y="6365444"/>
            <a:ext cx="58521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1" y="6400190"/>
            <a:ext cx="1303209" cy="168518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3" name="Rectangle 1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304804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8"/>
          <p:cNvSpPr txBox="1">
            <a:spLocks/>
          </p:cNvSpPr>
          <p:nvPr userDrawn="1"/>
        </p:nvSpPr>
        <p:spPr>
          <a:xfrm>
            <a:off x="182021" y="6365444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17" name="Straight Connector 1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" name="Rectangle 18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20" name="Rectangle 19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21" name="Text Placeholder 18"/>
          <p:cNvSpPr txBox="1">
            <a:spLocks/>
          </p:cNvSpPr>
          <p:nvPr userDrawn="1"/>
        </p:nvSpPr>
        <p:spPr>
          <a:xfrm>
            <a:off x="412683" y="6370119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– 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22" name="Picture 13" descr="Mission_Statement_RGB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1" y="6418196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7877954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396" y="3692"/>
            <a:ext cx="12201685" cy="6854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9" name="Freeform 8"/>
          <p:cNvSpPr/>
          <p:nvPr userDrawn="1"/>
        </p:nvSpPr>
        <p:spPr>
          <a:xfrm>
            <a:off x="-11936" y="-3148"/>
            <a:ext cx="11931119" cy="6867762"/>
          </a:xfrm>
          <a:custGeom>
            <a:avLst/>
            <a:gdLst>
              <a:gd name="connsiteX0" fmla="*/ 1643975 w 8501975"/>
              <a:gd name="connsiteY0" fmla="*/ 0 h 5175115"/>
              <a:gd name="connsiteX1" fmla="*/ 8501975 w 8501975"/>
              <a:gd name="connsiteY1" fmla="*/ 19455 h 5175115"/>
              <a:gd name="connsiteX2" fmla="*/ 4289898 w 8501975"/>
              <a:gd name="connsiteY2" fmla="*/ 5175115 h 5175115"/>
              <a:gd name="connsiteX3" fmla="*/ 0 w 8501975"/>
              <a:gd name="connsiteY3" fmla="*/ 5175115 h 5175115"/>
              <a:gd name="connsiteX4" fmla="*/ 0 w 8501975"/>
              <a:gd name="connsiteY4" fmla="*/ 4027251 h 5175115"/>
              <a:gd name="connsiteX5" fmla="*/ 1643975 w 8501975"/>
              <a:gd name="connsiteY5" fmla="*/ 0 h 5175115"/>
              <a:gd name="connsiteX0" fmla="*/ 1649126 w 8507126"/>
              <a:gd name="connsiteY0" fmla="*/ 0 h 5175115"/>
              <a:gd name="connsiteX1" fmla="*/ 8507126 w 8507126"/>
              <a:gd name="connsiteY1" fmla="*/ 19455 h 5175115"/>
              <a:gd name="connsiteX2" fmla="*/ 4295049 w 8507126"/>
              <a:gd name="connsiteY2" fmla="*/ 5175115 h 5175115"/>
              <a:gd name="connsiteX3" fmla="*/ 5151 w 8507126"/>
              <a:gd name="connsiteY3" fmla="*/ 5175115 h 5175115"/>
              <a:gd name="connsiteX4" fmla="*/ 0 w 8507126"/>
              <a:gd name="connsiteY4" fmla="*/ 4037554 h 5175115"/>
              <a:gd name="connsiteX5" fmla="*/ 1649126 w 8507126"/>
              <a:gd name="connsiteY5" fmla="*/ 0 h 5175115"/>
              <a:gd name="connsiteX0" fmla="*/ 1649127 w 8507127"/>
              <a:gd name="connsiteY0" fmla="*/ 0 h 5175115"/>
              <a:gd name="connsiteX1" fmla="*/ 8507127 w 8507127"/>
              <a:gd name="connsiteY1" fmla="*/ 19455 h 5175115"/>
              <a:gd name="connsiteX2" fmla="*/ 4295050 w 8507127"/>
              <a:gd name="connsiteY2" fmla="*/ 5175115 h 5175115"/>
              <a:gd name="connsiteX3" fmla="*/ 0 w 8507127"/>
              <a:gd name="connsiteY3" fmla="*/ 5175115 h 5175115"/>
              <a:gd name="connsiteX4" fmla="*/ 1 w 8507127"/>
              <a:gd name="connsiteY4" fmla="*/ 4037554 h 5175115"/>
              <a:gd name="connsiteX5" fmla="*/ 1649127 w 8507127"/>
              <a:gd name="connsiteY5" fmla="*/ 0 h 5175115"/>
              <a:gd name="connsiteX0" fmla="*/ 1690339 w 8507127"/>
              <a:gd name="connsiteY0" fmla="*/ 34637 h 5155660"/>
              <a:gd name="connsiteX1" fmla="*/ 8507127 w 8507127"/>
              <a:gd name="connsiteY1" fmla="*/ 0 h 5155660"/>
              <a:gd name="connsiteX2" fmla="*/ 4295050 w 8507127"/>
              <a:gd name="connsiteY2" fmla="*/ 5155660 h 5155660"/>
              <a:gd name="connsiteX3" fmla="*/ 0 w 8507127"/>
              <a:gd name="connsiteY3" fmla="*/ 5155660 h 5155660"/>
              <a:gd name="connsiteX4" fmla="*/ 1 w 8507127"/>
              <a:gd name="connsiteY4" fmla="*/ 4018099 h 5155660"/>
              <a:gd name="connsiteX5" fmla="*/ 1690339 w 8507127"/>
              <a:gd name="connsiteY5" fmla="*/ 34637 h 5155660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 w 8507127"/>
              <a:gd name="connsiteY4" fmla="*/ 4019523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46365 w 8507127"/>
              <a:gd name="connsiteY4" fmla="*/ 4006644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5455 w 8507127"/>
              <a:gd name="connsiteY4" fmla="*/ 3973159 h 5157084"/>
              <a:gd name="connsiteX5" fmla="*/ 1651702 w 8507127"/>
              <a:gd name="connsiteY5" fmla="*/ 0 h 5157084"/>
              <a:gd name="connsiteX0" fmla="*/ 1636247 w 8491672"/>
              <a:gd name="connsiteY0" fmla="*/ 0 h 5157084"/>
              <a:gd name="connsiteX1" fmla="*/ 8491672 w 8491672"/>
              <a:gd name="connsiteY1" fmla="*/ 1424 h 5157084"/>
              <a:gd name="connsiteX2" fmla="*/ 4279595 w 8491672"/>
              <a:gd name="connsiteY2" fmla="*/ 5157084 h 5157084"/>
              <a:gd name="connsiteX3" fmla="*/ 64394 w 8491672"/>
              <a:gd name="connsiteY3" fmla="*/ 5157084 h 5157084"/>
              <a:gd name="connsiteX4" fmla="*/ 0 w 8491672"/>
              <a:gd name="connsiteY4" fmla="*/ 3973159 h 5157084"/>
              <a:gd name="connsiteX5" fmla="*/ 1636247 w 8491672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2576 w 8494248"/>
              <a:gd name="connsiteY4" fmla="*/ 3973159 h 5157084"/>
              <a:gd name="connsiteX5" fmla="*/ 1638823 w 8494248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38637 w 8494248"/>
              <a:gd name="connsiteY4" fmla="*/ 4029826 h 5157084"/>
              <a:gd name="connsiteX5" fmla="*/ 1638823 w 8494248"/>
              <a:gd name="connsiteY5" fmla="*/ 0 h 5157084"/>
              <a:gd name="connsiteX0" fmla="*/ 1641398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41398 w 8496823"/>
              <a:gd name="connsiteY5" fmla="*/ 0 h 5157084"/>
              <a:gd name="connsiteX0" fmla="*/ 1638256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38256 w 8496823"/>
              <a:gd name="connsiteY5" fmla="*/ 0 h 5157084"/>
              <a:gd name="connsiteX0" fmla="*/ 1638256 w 8496823"/>
              <a:gd name="connsiteY0" fmla="*/ 0 h 6846184"/>
              <a:gd name="connsiteX1" fmla="*/ 8496823 w 8496823"/>
              <a:gd name="connsiteY1" fmla="*/ 1424 h 6846184"/>
              <a:gd name="connsiteX2" fmla="*/ 2900446 w 8496823"/>
              <a:gd name="connsiteY2" fmla="*/ 6846184 h 6846184"/>
              <a:gd name="connsiteX3" fmla="*/ 2575 w 8496823"/>
              <a:gd name="connsiteY3" fmla="*/ 5157084 h 6846184"/>
              <a:gd name="connsiteX4" fmla="*/ 0 w 8496823"/>
              <a:gd name="connsiteY4" fmla="*/ 3983462 h 6846184"/>
              <a:gd name="connsiteX5" fmla="*/ 1638256 w 8496823"/>
              <a:gd name="connsiteY5" fmla="*/ 0 h 6846184"/>
              <a:gd name="connsiteX0" fmla="*/ 16483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648381 w 8506948"/>
              <a:gd name="connsiteY5" fmla="*/ 0 h 6858884"/>
              <a:gd name="connsiteX0" fmla="*/ 15975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597581 w 8506948"/>
              <a:gd name="connsiteY5" fmla="*/ 0 h 6858884"/>
              <a:gd name="connsiteX0" fmla="*/ 2083733 w 8993100"/>
              <a:gd name="connsiteY0" fmla="*/ 0 h 6858884"/>
              <a:gd name="connsiteX1" fmla="*/ 8993100 w 8993100"/>
              <a:gd name="connsiteY1" fmla="*/ 1424 h 6858884"/>
              <a:gd name="connsiteX2" fmla="*/ 3396723 w 8993100"/>
              <a:gd name="connsiteY2" fmla="*/ 6846184 h 6858884"/>
              <a:gd name="connsiteX3" fmla="*/ 486152 w 8993100"/>
              <a:gd name="connsiteY3" fmla="*/ 6858884 h 6858884"/>
              <a:gd name="connsiteX4" fmla="*/ 0 w 8993100"/>
              <a:gd name="connsiteY4" fmla="*/ 5136231 h 6858884"/>
              <a:gd name="connsiteX5" fmla="*/ 2083733 w 8993100"/>
              <a:gd name="connsiteY5" fmla="*/ 0 h 6858884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36231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57907"/>
              <a:gd name="connsiteX1" fmla="*/ 8993100 w 8993100"/>
              <a:gd name="connsiteY1" fmla="*/ 1424 h 6857907"/>
              <a:gd name="connsiteX2" fmla="*/ 3388908 w 8993100"/>
              <a:gd name="connsiteY2" fmla="*/ 6857907 h 6857907"/>
              <a:gd name="connsiteX3" fmla="*/ 99290 w 8993100"/>
              <a:gd name="connsiteY3" fmla="*/ 6851069 h 6857907"/>
              <a:gd name="connsiteX4" fmla="*/ 0 w 8993100"/>
              <a:gd name="connsiteY4" fmla="*/ 5124508 h 6857907"/>
              <a:gd name="connsiteX5" fmla="*/ 2083733 w 8993100"/>
              <a:gd name="connsiteY5" fmla="*/ 0 h 6857907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5505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7554"/>
              <a:gd name="connsiteX1" fmla="*/ 8993100 w 8993100"/>
              <a:gd name="connsiteY1" fmla="*/ 6186 h 6867554"/>
              <a:gd name="connsiteX2" fmla="*/ 3388908 w 8993100"/>
              <a:gd name="connsiteY2" fmla="*/ 6862669 h 6867554"/>
              <a:gd name="connsiteX3" fmla="*/ 5505 w 8993100"/>
              <a:gd name="connsiteY3" fmla="*/ 6867554 h 6867554"/>
              <a:gd name="connsiteX4" fmla="*/ 0 w 8993100"/>
              <a:gd name="connsiteY4" fmla="*/ 5129270 h 6867554"/>
              <a:gd name="connsiteX5" fmla="*/ 2083733 w 8993100"/>
              <a:gd name="connsiteY5" fmla="*/ 0 h 6867554"/>
              <a:gd name="connsiteX0" fmla="*/ 2083733 w 8791676"/>
              <a:gd name="connsiteY0" fmla="*/ 0 h 6867554"/>
              <a:gd name="connsiteX1" fmla="*/ 8791676 w 8791676"/>
              <a:gd name="connsiteY1" fmla="*/ 22172 h 6867554"/>
              <a:gd name="connsiteX2" fmla="*/ 3388908 w 8791676"/>
              <a:gd name="connsiteY2" fmla="*/ 6862669 h 6867554"/>
              <a:gd name="connsiteX3" fmla="*/ 5505 w 8791676"/>
              <a:gd name="connsiteY3" fmla="*/ 6867554 h 6867554"/>
              <a:gd name="connsiteX4" fmla="*/ 0 w 8791676"/>
              <a:gd name="connsiteY4" fmla="*/ 5129270 h 6867554"/>
              <a:gd name="connsiteX5" fmla="*/ 2083733 w 8791676"/>
              <a:gd name="connsiteY5" fmla="*/ 0 h 6867554"/>
              <a:gd name="connsiteX0" fmla="*/ 2083733 w 8948339"/>
              <a:gd name="connsiteY0" fmla="*/ 208 h 6867762"/>
              <a:gd name="connsiteX1" fmla="*/ 8948339 w 8948339"/>
              <a:gd name="connsiteY1" fmla="*/ 0 h 6867762"/>
              <a:gd name="connsiteX2" fmla="*/ 3388908 w 8948339"/>
              <a:gd name="connsiteY2" fmla="*/ 6862877 h 6867762"/>
              <a:gd name="connsiteX3" fmla="*/ 5505 w 8948339"/>
              <a:gd name="connsiteY3" fmla="*/ 6867762 h 6867762"/>
              <a:gd name="connsiteX4" fmla="*/ 0 w 8948339"/>
              <a:gd name="connsiteY4" fmla="*/ 5129478 h 6867762"/>
              <a:gd name="connsiteX5" fmla="*/ 2083733 w 8948339"/>
              <a:gd name="connsiteY5" fmla="*/ 208 h 686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48339" h="6867762">
                <a:moveTo>
                  <a:pt x="2083733" y="208"/>
                </a:moveTo>
                <a:lnTo>
                  <a:pt x="8948339" y="0"/>
                </a:lnTo>
                <a:lnTo>
                  <a:pt x="3388908" y="6862877"/>
                </a:lnTo>
                <a:lnTo>
                  <a:pt x="5505" y="6867762"/>
                </a:lnTo>
                <a:cubicBezTo>
                  <a:pt x="5505" y="6488575"/>
                  <a:pt x="0" y="5508665"/>
                  <a:pt x="0" y="5129478"/>
                </a:cubicBezTo>
                <a:lnTo>
                  <a:pt x="2083733" y="208"/>
                </a:lnTo>
                <a:close/>
              </a:path>
            </a:pathLst>
          </a:cu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866737" y="3588760"/>
            <a:ext cx="6604000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1866741" y="3692359"/>
            <a:ext cx="5576799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sz="1600" dirty="0"/>
              <a:t>Click to edit SUB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1866741" y="3059451"/>
            <a:ext cx="6154313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9976" y="6197565"/>
            <a:ext cx="2658995" cy="34383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1866737" y="4200993"/>
            <a:ext cx="4267200" cy="347472"/>
          </a:xfrm>
        </p:spPr>
        <p:txBody>
          <a:bodyPr anchor="ctr"/>
          <a:lstStyle>
            <a:lvl1pPr marL="0" indent="0">
              <a:buNone/>
              <a:defRPr sz="16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Dat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1866737" y="4889321"/>
            <a:ext cx="4267200" cy="347472"/>
          </a:xfrm>
        </p:spPr>
        <p:txBody>
          <a:bodyPr anchor="ctr"/>
          <a:lstStyle>
            <a:lvl1pPr marL="0" indent="0">
              <a:buNone/>
              <a:defRPr sz="105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vigant Reference No:</a:t>
            </a:r>
          </a:p>
        </p:txBody>
      </p:sp>
      <p:sp>
        <p:nvSpPr>
          <p:cNvPr id="15" name="Freeform 14"/>
          <p:cNvSpPr/>
          <p:nvPr userDrawn="1"/>
        </p:nvSpPr>
        <p:spPr>
          <a:xfrm>
            <a:off x="-8596" y="-3908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68010528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8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"/>
          <p:cNvSpPr>
            <a:spLocks noGrp="1"/>
          </p:cNvSpPr>
          <p:nvPr>
            <p:ph idx="1"/>
          </p:nvPr>
        </p:nvSpPr>
        <p:spPr bwMode="gray">
          <a:xfrm>
            <a:off x="287453" y="1341114"/>
            <a:ext cx="116256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9" name="Title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6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50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32014276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396" y="3692"/>
            <a:ext cx="12201685" cy="6854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9" name="Freeform 8"/>
          <p:cNvSpPr/>
          <p:nvPr userDrawn="1"/>
        </p:nvSpPr>
        <p:spPr>
          <a:xfrm>
            <a:off x="-11936" y="-3148"/>
            <a:ext cx="11931119" cy="6867762"/>
          </a:xfrm>
          <a:custGeom>
            <a:avLst/>
            <a:gdLst>
              <a:gd name="connsiteX0" fmla="*/ 1643975 w 8501975"/>
              <a:gd name="connsiteY0" fmla="*/ 0 h 5175115"/>
              <a:gd name="connsiteX1" fmla="*/ 8501975 w 8501975"/>
              <a:gd name="connsiteY1" fmla="*/ 19455 h 5175115"/>
              <a:gd name="connsiteX2" fmla="*/ 4289898 w 8501975"/>
              <a:gd name="connsiteY2" fmla="*/ 5175115 h 5175115"/>
              <a:gd name="connsiteX3" fmla="*/ 0 w 8501975"/>
              <a:gd name="connsiteY3" fmla="*/ 5175115 h 5175115"/>
              <a:gd name="connsiteX4" fmla="*/ 0 w 8501975"/>
              <a:gd name="connsiteY4" fmla="*/ 4027251 h 5175115"/>
              <a:gd name="connsiteX5" fmla="*/ 1643975 w 8501975"/>
              <a:gd name="connsiteY5" fmla="*/ 0 h 5175115"/>
              <a:gd name="connsiteX0" fmla="*/ 1649126 w 8507126"/>
              <a:gd name="connsiteY0" fmla="*/ 0 h 5175115"/>
              <a:gd name="connsiteX1" fmla="*/ 8507126 w 8507126"/>
              <a:gd name="connsiteY1" fmla="*/ 19455 h 5175115"/>
              <a:gd name="connsiteX2" fmla="*/ 4295049 w 8507126"/>
              <a:gd name="connsiteY2" fmla="*/ 5175115 h 5175115"/>
              <a:gd name="connsiteX3" fmla="*/ 5151 w 8507126"/>
              <a:gd name="connsiteY3" fmla="*/ 5175115 h 5175115"/>
              <a:gd name="connsiteX4" fmla="*/ 0 w 8507126"/>
              <a:gd name="connsiteY4" fmla="*/ 4037554 h 5175115"/>
              <a:gd name="connsiteX5" fmla="*/ 1649126 w 8507126"/>
              <a:gd name="connsiteY5" fmla="*/ 0 h 5175115"/>
              <a:gd name="connsiteX0" fmla="*/ 1649127 w 8507127"/>
              <a:gd name="connsiteY0" fmla="*/ 0 h 5175115"/>
              <a:gd name="connsiteX1" fmla="*/ 8507127 w 8507127"/>
              <a:gd name="connsiteY1" fmla="*/ 19455 h 5175115"/>
              <a:gd name="connsiteX2" fmla="*/ 4295050 w 8507127"/>
              <a:gd name="connsiteY2" fmla="*/ 5175115 h 5175115"/>
              <a:gd name="connsiteX3" fmla="*/ 0 w 8507127"/>
              <a:gd name="connsiteY3" fmla="*/ 5175115 h 5175115"/>
              <a:gd name="connsiteX4" fmla="*/ 1 w 8507127"/>
              <a:gd name="connsiteY4" fmla="*/ 4037554 h 5175115"/>
              <a:gd name="connsiteX5" fmla="*/ 1649127 w 8507127"/>
              <a:gd name="connsiteY5" fmla="*/ 0 h 5175115"/>
              <a:gd name="connsiteX0" fmla="*/ 1690339 w 8507127"/>
              <a:gd name="connsiteY0" fmla="*/ 34637 h 5155660"/>
              <a:gd name="connsiteX1" fmla="*/ 8507127 w 8507127"/>
              <a:gd name="connsiteY1" fmla="*/ 0 h 5155660"/>
              <a:gd name="connsiteX2" fmla="*/ 4295050 w 8507127"/>
              <a:gd name="connsiteY2" fmla="*/ 5155660 h 5155660"/>
              <a:gd name="connsiteX3" fmla="*/ 0 w 8507127"/>
              <a:gd name="connsiteY3" fmla="*/ 5155660 h 5155660"/>
              <a:gd name="connsiteX4" fmla="*/ 1 w 8507127"/>
              <a:gd name="connsiteY4" fmla="*/ 4018099 h 5155660"/>
              <a:gd name="connsiteX5" fmla="*/ 1690339 w 8507127"/>
              <a:gd name="connsiteY5" fmla="*/ 34637 h 5155660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 w 8507127"/>
              <a:gd name="connsiteY4" fmla="*/ 4019523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46365 w 8507127"/>
              <a:gd name="connsiteY4" fmla="*/ 4006644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5455 w 8507127"/>
              <a:gd name="connsiteY4" fmla="*/ 3973159 h 5157084"/>
              <a:gd name="connsiteX5" fmla="*/ 1651702 w 8507127"/>
              <a:gd name="connsiteY5" fmla="*/ 0 h 5157084"/>
              <a:gd name="connsiteX0" fmla="*/ 1636247 w 8491672"/>
              <a:gd name="connsiteY0" fmla="*/ 0 h 5157084"/>
              <a:gd name="connsiteX1" fmla="*/ 8491672 w 8491672"/>
              <a:gd name="connsiteY1" fmla="*/ 1424 h 5157084"/>
              <a:gd name="connsiteX2" fmla="*/ 4279595 w 8491672"/>
              <a:gd name="connsiteY2" fmla="*/ 5157084 h 5157084"/>
              <a:gd name="connsiteX3" fmla="*/ 64394 w 8491672"/>
              <a:gd name="connsiteY3" fmla="*/ 5157084 h 5157084"/>
              <a:gd name="connsiteX4" fmla="*/ 0 w 8491672"/>
              <a:gd name="connsiteY4" fmla="*/ 3973159 h 5157084"/>
              <a:gd name="connsiteX5" fmla="*/ 1636247 w 8491672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2576 w 8494248"/>
              <a:gd name="connsiteY4" fmla="*/ 3973159 h 5157084"/>
              <a:gd name="connsiteX5" fmla="*/ 1638823 w 8494248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38637 w 8494248"/>
              <a:gd name="connsiteY4" fmla="*/ 4029826 h 5157084"/>
              <a:gd name="connsiteX5" fmla="*/ 1638823 w 8494248"/>
              <a:gd name="connsiteY5" fmla="*/ 0 h 5157084"/>
              <a:gd name="connsiteX0" fmla="*/ 1641398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41398 w 8496823"/>
              <a:gd name="connsiteY5" fmla="*/ 0 h 5157084"/>
              <a:gd name="connsiteX0" fmla="*/ 1638256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38256 w 8496823"/>
              <a:gd name="connsiteY5" fmla="*/ 0 h 5157084"/>
              <a:gd name="connsiteX0" fmla="*/ 1638256 w 8496823"/>
              <a:gd name="connsiteY0" fmla="*/ 0 h 6846184"/>
              <a:gd name="connsiteX1" fmla="*/ 8496823 w 8496823"/>
              <a:gd name="connsiteY1" fmla="*/ 1424 h 6846184"/>
              <a:gd name="connsiteX2" fmla="*/ 2900446 w 8496823"/>
              <a:gd name="connsiteY2" fmla="*/ 6846184 h 6846184"/>
              <a:gd name="connsiteX3" fmla="*/ 2575 w 8496823"/>
              <a:gd name="connsiteY3" fmla="*/ 5157084 h 6846184"/>
              <a:gd name="connsiteX4" fmla="*/ 0 w 8496823"/>
              <a:gd name="connsiteY4" fmla="*/ 3983462 h 6846184"/>
              <a:gd name="connsiteX5" fmla="*/ 1638256 w 8496823"/>
              <a:gd name="connsiteY5" fmla="*/ 0 h 6846184"/>
              <a:gd name="connsiteX0" fmla="*/ 16483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648381 w 8506948"/>
              <a:gd name="connsiteY5" fmla="*/ 0 h 6858884"/>
              <a:gd name="connsiteX0" fmla="*/ 15975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597581 w 8506948"/>
              <a:gd name="connsiteY5" fmla="*/ 0 h 6858884"/>
              <a:gd name="connsiteX0" fmla="*/ 2083733 w 8993100"/>
              <a:gd name="connsiteY0" fmla="*/ 0 h 6858884"/>
              <a:gd name="connsiteX1" fmla="*/ 8993100 w 8993100"/>
              <a:gd name="connsiteY1" fmla="*/ 1424 h 6858884"/>
              <a:gd name="connsiteX2" fmla="*/ 3396723 w 8993100"/>
              <a:gd name="connsiteY2" fmla="*/ 6846184 h 6858884"/>
              <a:gd name="connsiteX3" fmla="*/ 486152 w 8993100"/>
              <a:gd name="connsiteY3" fmla="*/ 6858884 h 6858884"/>
              <a:gd name="connsiteX4" fmla="*/ 0 w 8993100"/>
              <a:gd name="connsiteY4" fmla="*/ 5136231 h 6858884"/>
              <a:gd name="connsiteX5" fmla="*/ 2083733 w 8993100"/>
              <a:gd name="connsiteY5" fmla="*/ 0 h 6858884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36231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57907"/>
              <a:gd name="connsiteX1" fmla="*/ 8993100 w 8993100"/>
              <a:gd name="connsiteY1" fmla="*/ 1424 h 6857907"/>
              <a:gd name="connsiteX2" fmla="*/ 3388908 w 8993100"/>
              <a:gd name="connsiteY2" fmla="*/ 6857907 h 6857907"/>
              <a:gd name="connsiteX3" fmla="*/ 99290 w 8993100"/>
              <a:gd name="connsiteY3" fmla="*/ 6851069 h 6857907"/>
              <a:gd name="connsiteX4" fmla="*/ 0 w 8993100"/>
              <a:gd name="connsiteY4" fmla="*/ 5124508 h 6857907"/>
              <a:gd name="connsiteX5" fmla="*/ 2083733 w 8993100"/>
              <a:gd name="connsiteY5" fmla="*/ 0 h 6857907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5505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7554"/>
              <a:gd name="connsiteX1" fmla="*/ 8993100 w 8993100"/>
              <a:gd name="connsiteY1" fmla="*/ 6186 h 6867554"/>
              <a:gd name="connsiteX2" fmla="*/ 3388908 w 8993100"/>
              <a:gd name="connsiteY2" fmla="*/ 6862669 h 6867554"/>
              <a:gd name="connsiteX3" fmla="*/ 5505 w 8993100"/>
              <a:gd name="connsiteY3" fmla="*/ 6867554 h 6867554"/>
              <a:gd name="connsiteX4" fmla="*/ 0 w 8993100"/>
              <a:gd name="connsiteY4" fmla="*/ 5129270 h 6867554"/>
              <a:gd name="connsiteX5" fmla="*/ 2083733 w 8993100"/>
              <a:gd name="connsiteY5" fmla="*/ 0 h 6867554"/>
              <a:gd name="connsiteX0" fmla="*/ 2083733 w 8791676"/>
              <a:gd name="connsiteY0" fmla="*/ 0 h 6867554"/>
              <a:gd name="connsiteX1" fmla="*/ 8791676 w 8791676"/>
              <a:gd name="connsiteY1" fmla="*/ 22172 h 6867554"/>
              <a:gd name="connsiteX2" fmla="*/ 3388908 w 8791676"/>
              <a:gd name="connsiteY2" fmla="*/ 6862669 h 6867554"/>
              <a:gd name="connsiteX3" fmla="*/ 5505 w 8791676"/>
              <a:gd name="connsiteY3" fmla="*/ 6867554 h 6867554"/>
              <a:gd name="connsiteX4" fmla="*/ 0 w 8791676"/>
              <a:gd name="connsiteY4" fmla="*/ 5129270 h 6867554"/>
              <a:gd name="connsiteX5" fmla="*/ 2083733 w 8791676"/>
              <a:gd name="connsiteY5" fmla="*/ 0 h 6867554"/>
              <a:gd name="connsiteX0" fmla="*/ 2083733 w 8948339"/>
              <a:gd name="connsiteY0" fmla="*/ 208 h 6867762"/>
              <a:gd name="connsiteX1" fmla="*/ 8948339 w 8948339"/>
              <a:gd name="connsiteY1" fmla="*/ 0 h 6867762"/>
              <a:gd name="connsiteX2" fmla="*/ 3388908 w 8948339"/>
              <a:gd name="connsiteY2" fmla="*/ 6862877 h 6867762"/>
              <a:gd name="connsiteX3" fmla="*/ 5505 w 8948339"/>
              <a:gd name="connsiteY3" fmla="*/ 6867762 h 6867762"/>
              <a:gd name="connsiteX4" fmla="*/ 0 w 8948339"/>
              <a:gd name="connsiteY4" fmla="*/ 5129478 h 6867762"/>
              <a:gd name="connsiteX5" fmla="*/ 2083733 w 8948339"/>
              <a:gd name="connsiteY5" fmla="*/ 208 h 686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48339" h="6867762">
                <a:moveTo>
                  <a:pt x="2083733" y="208"/>
                </a:moveTo>
                <a:lnTo>
                  <a:pt x="8948339" y="0"/>
                </a:lnTo>
                <a:lnTo>
                  <a:pt x="3388908" y="6862877"/>
                </a:lnTo>
                <a:lnTo>
                  <a:pt x="5505" y="6867762"/>
                </a:lnTo>
                <a:cubicBezTo>
                  <a:pt x="5505" y="6488575"/>
                  <a:pt x="0" y="5508665"/>
                  <a:pt x="0" y="5129478"/>
                </a:cubicBezTo>
                <a:lnTo>
                  <a:pt x="2083733" y="208"/>
                </a:lnTo>
                <a:close/>
              </a:path>
            </a:pathLst>
          </a:cu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866737" y="3588760"/>
            <a:ext cx="6604000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1866741" y="3692359"/>
            <a:ext cx="5576799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sz="1600" dirty="0"/>
              <a:t>Click to edit SUB 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1866741" y="3059451"/>
            <a:ext cx="6154313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Freeform 14"/>
          <p:cNvSpPr/>
          <p:nvPr userDrawn="1"/>
        </p:nvSpPr>
        <p:spPr>
          <a:xfrm>
            <a:off x="-8596" y="-3908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4141" y="5666597"/>
            <a:ext cx="3174831" cy="87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257055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"/>
          <p:cNvSpPr>
            <a:spLocks noGrp="1"/>
          </p:cNvSpPr>
          <p:nvPr>
            <p:ph idx="1"/>
          </p:nvPr>
        </p:nvSpPr>
        <p:spPr bwMode="gray">
          <a:xfrm>
            <a:off x="287453" y="1944002"/>
            <a:ext cx="11625600" cy="422515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4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8" name="Heading 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87453" y="1341117"/>
            <a:ext cx="11625600" cy="43088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4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4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4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6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50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90664735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9" y="3"/>
            <a:ext cx="6095999" cy="68571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9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8947054" y="858420"/>
            <a:ext cx="2963436" cy="4842504"/>
          </a:xfrm>
          <a:prstGeom prst="rect">
            <a:avLst/>
          </a:prstGeom>
        </p:spPr>
        <p:txBody>
          <a:bodyPr vert="horz" lIns="0" rIns="0" bIns="0" anchor="ctr"/>
          <a:lstStyle>
            <a:lvl1pPr marL="0" indent="0">
              <a:buFontTx/>
              <a:buNone/>
              <a:defRPr sz="2000" cap="all" baseline="0">
                <a:solidFill>
                  <a:srgbClr val="555759"/>
                </a:solidFill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ection #:</a:t>
            </a:r>
          </a:p>
          <a:p>
            <a:pPr lvl="0"/>
            <a:r>
              <a:rPr lang="en-US" dirty="0"/>
              <a:t>Click to add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1" y="6400190"/>
            <a:ext cx="1303209" cy="168518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1" y="868"/>
            <a:ext cx="6096000" cy="6857135"/>
          </a:xfrm>
          <a:prstGeom prst="rect">
            <a:avLst/>
          </a:pr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2527" y="858420"/>
            <a:ext cx="5246949" cy="4842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61329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Right"/>
          <p:cNvSpPr>
            <a:spLocks noGrp="1"/>
          </p:cNvSpPr>
          <p:nvPr>
            <p:ph idx="11"/>
          </p:nvPr>
        </p:nvSpPr>
        <p:spPr bwMode="gray">
          <a:xfrm>
            <a:off x="6393053" y="1341114"/>
            <a:ext cx="552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5" name="Content Left"/>
          <p:cNvSpPr>
            <a:spLocks noGrp="1"/>
          </p:cNvSpPr>
          <p:nvPr>
            <p:ph idx="1"/>
          </p:nvPr>
        </p:nvSpPr>
        <p:spPr bwMode="gray">
          <a:xfrm>
            <a:off x="287455" y="1341114"/>
            <a:ext cx="552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8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50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315396863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Right"/>
          <p:cNvSpPr>
            <a:spLocks noGrp="1"/>
          </p:cNvSpPr>
          <p:nvPr>
            <p:ph idx="11"/>
          </p:nvPr>
        </p:nvSpPr>
        <p:spPr bwMode="gray">
          <a:xfrm>
            <a:off x="6393053" y="1882448"/>
            <a:ext cx="552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5" name="Content Left"/>
          <p:cNvSpPr>
            <a:spLocks noGrp="1"/>
          </p:cNvSpPr>
          <p:nvPr>
            <p:ph idx="1"/>
          </p:nvPr>
        </p:nvSpPr>
        <p:spPr bwMode="gray">
          <a:xfrm>
            <a:off x="287451" y="1882448"/>
            <a:ext cx="552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4" name="Heading Right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393053" y="1341114"/>
            <a:ext cx="5520000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3" name="Heading Left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87455" y="1341114"/>
            <a:ext cx="5520000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50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09229829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Right Bottom"/>
          <p:cNvSpPr>
            <a:spLocks noGrp="1"/>
          </p:cNvSpPr>
          <p:nvPr>
            <p:ph idx="27"/>
          </p:nvPr>
        </p:nvSpPr>
        <p:spPr bwMode="gray">
          <a:xfrm>
            <a:off x="6393053" y="3842318"/>
            <a:ext cx="5520000" cy="232684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4" name="Content Left Bottom"/>
          <p:cNvSpPr>
            <a:spLocks noGrp="1"/>
          </p:cNvSpPr>
          <p:nvPr>
            <p:ph idx="28"/>
          </p:nvPr>
        </p:nvSpPr>
        <p:spPr bwMode="gray">
          <a:xfrm>
            <a:off x="287455" y="3842318"/>
            <a:ext cx="5520000" cy="232684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8" name="Content Right Top"/>
          <p:cNvSpPr>
            <a:spLocks noGrp="1"/>
          </p:cNvSpPr>
          <p:nvPr>
            <p:ph idx="26"/>
          </p:nvPr>
        </p:nvSpPr>
        <p:spPr bwMode="gray">
          <a:xfrm>
            <a:off x="6393053" y="1341114"/>
            <a:ext cx="5520000" cy="23256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9" name="Content Left Top"/>
          <p:cNvSpPr>
            <a:spLocks noGrp="1"/>
          </p:cNvSpPr>
          <p:nvPr>
            <p:ph idx="1"/>
          </p:nvPr>
        </p:nvSpPr>
        <p:spPr bwMode="gray">
          <a:xfrm>
            <a:off x="287455" y="1341114"/>
            <a:ext cx="5520000" cy="23256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0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11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50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7779531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Right Top"/>
          <p:cNvSpPr>
            <a:spLocks noGrp="1"/>
          </p:cNvSpPr>
          <p:nvPr>
            <p:ph idx="29"/>
          </p:nvPr>
        </p:nvSpPr>
        <p:spPr bwMode="gray">
          <a:xfrm>
            <a:off x="6393053" y="1814188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9" name="Content Left Top"/>
          <p:cNvSpPr>
            <a:spLocks noGrp="1"/>
          </p:cNvSpPr>
          <p:nvPr>
            <p:ph idx="1"/>
          </p:nvPr>
        </p:nvSpPr>
        <p:spPr bwMode="gray">
          <a:xfrm>
            <a:off x="287455" y="1814188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1" name="Heading Right Top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393053" y="1341117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0" name="Heading Left Top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87455" y="1341117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4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15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50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  <p:sp>
        <p:nvSpPr>
          <p:cNvPr id="21" name="Content Right Top"/>
          <p:cNvSpPr>
            <a:spLocks noGrp="1"/>
          </p:cNvSpPr>
          <p:nvPr>
            <p:ph idx="34"/>
          </p:nvPr>
        </p:nvSpPr>
        <p:spPr bwMode="gray">
          <a:xfrm>
            <a:off x="6393053" y="4316632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22" name="Content Left Top"/>
          <p:cNvSpPr>
            <a:spLocks noGrp="1"/>
          </p:cNvSpPr>
          <p:nvPr>
            <p:ph idx="35"/>
          </p:nvPr>
        </p:nvSpPr>
        <p:spPr bwMode="gray">
          <a:xfrm>
            <a:off x="287455" y="4316632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23" name="Heading Right Top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6393053" y="3843558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4" name="Heading Left Top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87455" y="3843558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829298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Right"/>
          <p:cNvSpPr>
            <a:spLocks noGrp="1"/>
          </p:cNvSpPr>
          <p:nvPr>
            <p:ph idx="27"/>
          </p:nvPr>
        </p:nvSpPr>
        <p:spPr bwMode="gray">
          <a:xfrm>
            <a:off x="8313053" y="1341114"/>
            <a:ext cx="360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4" name="Content Middle"/>
          <p:cNvSpPr>
            <a:spLocks noGrp="1"/>
          </p:cNvSpPr>
          <p:nvPr>
            <p:ph idx="26"/>
          </p:nvPr>
        </p:nvSpPr>
        <p:spPr bwMode="gray">
          <a:xfrm>
            <a:off x="4300252" y="1341114"/>
            <a:ext cx="360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3" name="Content Left"/>
          <p:cNvSpPr>
            <a:spLocks noGrp="1"/>
          </p:cNvSpPr>
          <p:nvPr>
            <p:ph idx="25"/>
          </p:nvPr>
        </p:nvSpPr>
        <p:spPr bwMode="gray">
          <a:xfrm>
            <a:off x="287452" y="1341114"/>
            <a:ext cx="360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7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6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50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76772054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Right"/>
          <p:cNvSpPr>
            <a:spLocks noGrp="1"/>
          </p:cNvSpPr>
          <p:nvPr>
            <p:ph idx="27"/>
          </p:nvPr>
        </p:nvSpPr>
        <p:spPr bwMode="gray">
          <a:xfrm>
            <a:off x="8313053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7" name="Content Middle"/>
          <p:cNvSpPr>
            <a:spLocks noGrp="1"/>
          </p:cNvSpPr>
          <p:nvPr>
            <p:ph idx="26"/>
          </p:nvPr>
        </p:nvSpPr>
        <p:spPr bwMode="gray">
          <a:xfrm>
            <a:off x="4300252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6" name="Content Left"/>
          <p:cNvSpPr>
            <a:spLocks noGrp="1"/>
          </p:cNvSpPr>
          <p:nvPr>
            <p:ph idx="25"/>
          </p:nvPr>
        </p:nvSpPr>
        <p:spPr bwMode="gray">
          <a:xfrm>
            <a:off x="287452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21" name="Heading Right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8313053" y="1337514"/>
            <a:ext cx="3600000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Heading Middl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00253" y="1337514"/>
            <a:ext cx="3600000" cy="369332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0" name="Heading Left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87453" y="1337514"/>
            <a:ext cx="3600000" cy="369332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0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50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45251047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2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Right"/>
          <p:cNvSpPr>
            <a:spLocks noGrp="1"/>
          </p:cNvSpPr>
          <p:nvPr>
            <p:ph idx="28"/>
          </p:nvPr>
        </p:nvSpPr>
        <p:spPr bwMode="gray">
          <a:xfrm>
            <a:off x="8313053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9" name="Heading Right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8313053" y="1337514"/>
            <a:ext cx="3600000" cy="369332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12" name="Content Middle"/>
          <p:cNvSpPr>
            <a:spLocks noGrp="1"/>
          </p:cNvSpPr>
          <p:nvPr>
            <p:ph idx="26"/>
          </p:nvPr>
        </p:nvSpPr>
        <p:spPr bwMode="gray">
          <a:xfrm>
            <a:off x="287455" y="1882448"/>
            <a:ext cx="7612799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3" name="Heading Middl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87457" y="1337514"/>
            <a:ext cx="7612799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7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50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09439229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71438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ergy_Title Slide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396" y="3692"/>
            <a:ext cx="12201685" cy="6854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9" name="Freeform 8"/>
          <p:cNvSpPr/>
          <p:nvPr userDrawn="1"/>
        </p:nvSpPr>
        <p:spPr>
          <a:xfrm>
            <a:off x="-11936" y="-3148"/>
            <a:ext cx="11931119" cy="6867762"/>
          </a:xfrm>
          <a:custGeom>
            <a:avLst/>
            <a:gdLst>
              <a:gd name="connsiteX0" fmla="*/ 1643975 w 8501975"/>
              <a:gd name="connsiteY0" fmla="*/ 0 h 5175115"/>
              <a:gd name="connsiteX1" fmla="*/ 8501975 w 8501975"/>
              <a:gd name="connsiteY1" fmla="*/ 19455 h 5175115"/>
              <a:gd name="connsiteX2" fmla="*/ 4289898 w 8501975"/>
              <a:gd name="connsiteY2" fmla="*/ 5175115 h 5175115"/>
              <a:gd name="connsiteX3" fmla="*/ 0 w 8501975"/>
              <a:gd name="connsiteY3" fmla="*/ 5175115 h 5175115"/>
              <a:gd name="connsiteX4" fmla="*/ 0 w 8501975"/>
              <a:gd name="connsiteY4" fmla="*/ 4027251 h 5175115"/>
              <a:gd name="connsiteX5" fmla="*/ 1643975 w 8501975"/>
              <a:gd name="connsiteY5" fmla="*/ 0 h 5175115"/>
              <a:gd name="connsiteX0" fmla="*/ 1649126 w 8507126"/>
              <a:gd name="connsiteY0" fmla="*/ 0 h 5175115"/>
              <a:gd name="connsiteX1" fmla="*/ 8507126 w 8507126"/>
              <a:gd name="connsiteY1" fmla="*/ 19455 h 5175115"/>
              <a:gd name="connsiteX2" fmla="*/ 4295049 w 8507126"/>
              <a:gd name="connsiteY2" fmla="*/ 5175115 h 5175115"/>
              <a:gd name="connsiteX3" fmla="*/ 5151 w 8507126"/>
              <a:gd name="connsiteY3" fmla="*/ 5175115 h 5175115"/>
              <a:gd name="connsiteX4" fmla="*/ 0 w 8507126"/>
              <a:gd name="connsiteY4" fmla="*/ 4037554 h 5175115"/>
              <a:gd name="connsiteX5" fmla="*/ 1649126 w 8507126"/>
              <a:gd name="connsiteY5" fmla="*/ 0 h 5175115"/>
              <a:gd name="connsiteX0" fmla="*/ 1649127 w 8507127"/>
              <a:gd name="connsiteY0" fmla="*/ 0 h 5175115"/>
              <a:gd name="connsiteX1" fmla="*/ 8507127 w 8507127"/>
              <a:gd name="connsiteY1" fmla="*/ 19455 h 5175115"/>
              <a:gd name="connsiteX2" fmla="*/ 4295050 w 8507127"/>
              <a:gd name="connsiteY2" fmla="*/ 5175115 h 5175115"/>
              <a:gd name="connsiteX3" fmla="*/ 0 w 8507127"/>
              <a:gd name="connsiteY3" fmla="*/ 5175115 h 5175115"/>
              <a:gd name="connsiteX4" fmla="*/ 1 w 8507127"/>
              <a:gd name="connsiteY4" fmla="*/ 4037554 h 5175115"/>
              <a:gd name="connsiteX5" fmla="*/ 1649127 w 8507127"/>
              <a:gd name="connsiteY5" fmla="*/ 0 h 5175115"/>
              <a:gd name="connsiteX0" fmla="*/ 1690339 w 8507127"/>
              <a:gd name="connsiteY0" fmla="*/ 34637 h 5155660"/>
              <a:gd name="connsiteX1" fmla="*/ 8507127 w 8507127"/>
              <a:gd name="connsiteY1" fmla="*/ 0 h 5155660"/>
              <a:gd name="connsiteX2" fmla="*/ 4295050 w 8507127"/>
              <a:gd name="connsiteY2" fmla="*/ 5155660 h 5155660"/>
              <a:gd name="connsiteX3" fmla="*/ 0 w 8507127"/>
              <a:gd name="connsiteY3" fmla="*/ 5155660 h 5155660"/>
              <a:gd name="connsiteX4" fmla="*/ 1 w 8507127"/>
              <a:gd name="connsiteY4" fmla="*/ 4018099 h 5155660"/>
              <a:gd name="connsiteX5" fmla="*/ 1690339 w 8507127"/>
              <a:gd name="connsiteY5" fmla="*/ 34637 h 5155660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 w 8507127"/>
              <a:gd name="connsiteY4" fmla="*/ 4019523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46365 w 8507127"/>
              <a:gd name="connsiteY4" fmla="*/ 4006644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5455 w 8507127"/>
              <a:gd name="connsiteY4" fmla="*/ 3973159 h 5157084"/>
              <a:gd name="connsiteX5" fmla="*/ 1651702 w 8507127"/>
              <a:gd name="connsiteY5" fmla="*/ 0 h 5157084"/>
              <a:gd name="connsiteX0" fmla="*/ 1636247 w 8491672"/>
              <a:gd name="connsiteY0" fmla="*/ 0 h 5157084"/>
              <a:gd name="connsiteX1" fmla="*/ 8491672 w 8491672"/>
              <a:gd name="connsiteY1" fmla="*/ 1424 h 5157084"/>
              <a:gd name="connsiteX2" fmla="*/ 4279595 w 8491672"/>
              <a:gd name="connsiteY2" fmla="*/ 5157084 h 5157084"/>
              <a:gd name="connsiteX3" fmla="*/ 64394 w 8491672"/>
              <a:gd name="connsiteY3" fmla="*/ 5157084 h 5157084"/>
              <a:gd name="connsiteX4" fmla="*/ 0 w 8491672"/>
              <a:gd name="connsiteY4" fmla="*/ 3973159 h 5157084"/>
              <a:gd name="connsiteX5" fmla="*/ 1636247 w 8491672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2576 w 8494248"/>
              <a:gd name="connsiteY4" fmla="*/ 3973159 h 5157084"/>
              <a:gd name="connsiteX5" fmla="*/ 1638823 w 8494248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38637 w 8494248"/>
              <a:gd name="connsiteY4" fmla="*/ 4029826 h 5157084"/>
              <a:gd name="connsiteX5" fmla="*/ 1638823 w 8494248"/>
              <a:gd name="connsiteY5" fmla="*/ 0 h 5157084"/>
              <a:gd name="connsiteX0" fmla="*/ 1641398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41398 w 8496823"/>
              <a:gd name="connsiteY5" fmla="*/ 0 h 5157084"/>
              <a:gd name="connsiteX0" fmla="*/ 1638256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38256 w 8496823"/>
              <a:gd name="connsiteY5" fmla="*/ 0 h 5157084"/>
              <a:gd name="connsiteX0" fmla="*/ 1638256 w 8496823"/>
              <a:gd name="connsiteY0" fmla="*/ 0 h 6846184"/>
              <a:gd name="connsiteX1" fmla="*/ 8496823 w 8496823"/>
              <a:gd name="connsiteY1" fmla="*/ 1424 h 6846184"/>
              <a:gd name="connsiteX2" fmla="*/ 2900446 w 8496823"/>
              <a:gd name="connsiteY2" fmla="*/ 6846184 h 6846184"/>
              <a:gd name="connsiteX3" fmla="*/ 2575 w 8496823"/>
              <a:gd name="connsiteY3" fmla="*/ 5157084 h 6846184"/>
              <a:gd name="connsiteX4" fmla="*/ 0 w 8496823"/>
              <a:gd name="connsiteY4" fmla="*/ 3983462 h 6846184"/>
              <a:gd name="connsiteX5" fmla="*/ 1638256 w 8496823"/>
              <a:gd name="connsiteY5" fmla="*/ 0 h 6846184"/>
              <a:gd name="connsiteX0" fmla="*/ 16483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648381 w 8506948"/>
              <a:gd name="connsiteY5" fmla="*/ 0 h 6858884"/>
              <a:gd name="connsiteX0" fmla="*/ 15975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597581 w 8506948"/>
              <a:gd name="connsiteY5" fmla="*/ 0 h 6858884"/>
              <a:gd name="connsiteX0" fmla="*/ 2083733 w 8993100"/>
              <a:gd name="connsiteY0" fmla="*/ 0 h 6858884"/>
              <a:gd name="connsiteX1" fmla="*/ 8993100 w 8993100"/>
              <a:gd name="connsiteY1" fmla="*/ 1424 h 6858884"/>
              <a:gd name="connsiteX2" fmla="*/ 3396723 w 8993100"/>
              <a:gd name="connsiteY2" fmla="*/ 6846184 h 6858884"/>
              <a:gd name="connsiteX3" fmla="*/ 486152 w 8993100"/>
              <a:gd name="connsiteY3" fmla="*/ 6858884 h 6858884"/>
              <a:gd name="connsiteX4" fmla="*/ 0 w 8993100"/>
              <a:gd name="connsiteY4" fmla="*/ 5136231 h 6858884"/>
              <a:gd name="connsiteX5" fmla="*/ 2083733 w 8993100"/>
              <a:gd name="connsiteY5" fmla="*/ 0 h 6858884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36231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57907"/>
              <a:gd name="connsiteX1" fmla="*/ 8993100 w 8993100"/>
              <a:gd name="connsiteY1" fmla="*/ 1424 h 6857907"/>
              <a:gd name="connsiteX2" fmla="*/ 3388908 w 8993100"/>
              <a:gd name="connsiteY2" fmla="*/ 6857907 h 6857907"/>
              <a:gd name="connsiteX3" fmla="*/ 99290 w 8993100"/>
              <a:gd name="connsiteY3" fmla="*/ 6851069 h 6857907"/>
              <a:gd name="connsiteX4" fmla="*/ 0 w 8993100"/>
              <a:gd name="connsiteY4" fmla="*/ 5124508 h 6857907"/>
              <a:gd name="connsiteX5" fmla="*/ 2083733 w 8993100"/>
              <a:gd name="connsiteY5" fmla="*/ 0 h 6857907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5505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7554"/>
              <a:gd name="connsiteX1" fmla="*/ 8993100 w 8993100"/>
              <a:gd name="connsiteY1" fmla="*/ 6186 h 6867554"/>
              <a:gd name="connsiteX2" fmla="*/ 3388908 w 8993100"/>
              <a:gd name="connsiteY2" fmla="*/ 6862669 h 6867554"/>
              <a:gd name="connsiteX3" fmla="*/ 5505 w 8993100"/>
              <a:gd name="connsiteY3" fmla="*/ 6867554 h 6867554"/>
              <a:gd name="connsiteX4" fmla="*/ 0 w 8993100"/>
              <a:gd name="connsiteY4" fmla="*/ 5129270 h 6867554"/>
              <a:gd name="connsiteX5" fmla="*/ 2083733 w 8993100"/>
              <a:gd name="connsiteY5" fmla="*/ 0 h 6867554"/>
              <a:gd name="connsiteX0" fmla="*/ 2083733 w 8791676"/>
              <a:gd name="connsiteY0" fmla="*/ 0 h 6867554"/>
              <a:gd name="connsiteX1" fmla="*/ 8791676 w 8791676"/>
              <a:gd name="connsiteY1" fmla="*/ 22172 h 6867554"/>
              <a:gd name="connsiteX2" fmla="*/ 3388908 w 8791676"/>
              <a:gd name="connsiteY2" fmla="*/ 6862669 h 6867554"/>
              <a:gd name="connsiteX3" fmla="*/ 5505 w 8791676"/>
              <a:gd name="connsiteY3" fmla="*/ 6867554 h 6867554"/>
              <a:gd name="connsiteX4" fmla="*/ 0 w 8791676"/>
              <a:gd name="connsiteY4" fmla="*/ 5129270 h 6867554"/>
              <a:gd name="connsiteX5" fmla="*/ 2083733 w 8791676"/>
              <a:gd name="connsiteY5" fmla="*/ 0 h 6867554"/>
              <a:gd name="connsiteX0" fmla="*/ 2083733 w 8948339"/>
              <a:gd name="connsiteY0" fmla="*/ 208 h 6867762"/>
              <a:gd name="connsiteX1" fmla="*/ 8948339 w 8948339"/>
              <a:gd name="connsiteY1" fmla="*/ 0 h 6867762"/>
              <a:gd name="connsiteX2" fmla="*/ 3388908 w 8948339"/>
              <a:gd name="connsiteY2" fmla="*/ 6862877 h 6867762"/>
              <a:gd name="connsiteX3" fmla="*/ 5505 w 8948339"/>
              <a:gd name="connsiteY3" fmla="*/ 6867762 h 6867762"/>
              <a:gd name="connsiteX4" fmla="*/ 0 w 8948339"/>
              <a:gd name="connsiteY4" fmla="*/ 5129478 h 6867762"/>
              <a:gd name="connsiteX5" fmla="*/ 2083733 w 8948339"/>
              <a:gd name="connsiteY5" fmla="*/ 208 h 686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48339" h="6867762">
                <a:moveTo>
                  <a:pt x="2083733" y="208"/>
                </a:moveTo>
                <a:lnTo>
                  <a:pt x="8948339" y="0"/>
                </a:lnTo>
                <a:lnTo>
                  <a:pt x="3388908" y="6862877"/>
                </a:lnTo>
                <a:lnTo>
                  <a:pt x="5505" y="6867762"/>
                </a:lnTo>
                <a:cubicBezTo>
                  <a:pt x="5505" y="6488575"/>
                  <a:pt x="0" y="5508665"/>
                  <a:pt x="0" y="5129478"/>
                </a:cubicBezTo>
                <a:lnTo>
                  <a:pt x="2083733" y="208"/>
                </a:lnTo>
                <a:close/>
              </a:path>
            </a:pathLst>
          </a:cu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866737" y="3588760"/>
            <a:ext cx="6604000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1866741" y="3692359"/>
            <a:ext cx="5576799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sz="1600" dirty="0"/>
              <a:t>Click to edit SUB 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1866741" y="3059451"/>
            <a:ext cx="6154313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960" y="-3148"/>
            <a:ext cx="2815677" cy="5124404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4141" y="5666597"/>
            <a:ext cx="3174831" cy="87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200230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Gray Bar_Content+Table/Chart/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304804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85344" y="6365444"/>
            <a:ext cx="58521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3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87453" y="1403684"/>
            <a:ext cx="11623035" cy="11338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2075105" y="2627336"/>
            <a:ext cx="8056033" cy="431800"/>
          </a:xfrm>
        </p:spPr>
        <p:txBody>
          <a:bodyPr anchor="ctr"/>
          <a:lstStyle>
            <a:lvl1pPr marL="0" indent="0" algn="ctr">
              <a:buNone/>
              <a:defRPr sz="1600" b="1" baseline="0"/>
            </a:lvl1pPr>
          </a:lstStyle>
          <a:p>
            <a:pPr lvl="0"/>
            <a:r>
              <a:rPr lang="en-US" b="1" dirty="0"/>
              <a:t>Insert Table/Chart/Figure Title</a:t>
            </a:r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1"/>
          </p:nvPr>
        </p:nvSpPr>
        <p:spPr>
          <a:xfrm>
            <a:off x="2854258" y="3148935"/>
            <a:ext cx="6470185" cy="266891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2998603" y="5870239"/>
            <a:ext cx="2400300" cy="219075"/>
          </a:xfrm>
        </p:spPr>
        <p:txBody>
          <a:bodyPr anchor="ctr"/>
          <a:lstStyle>
            <a:lvl1pPr marL="0" indent="0">
              <a:buNone/>
              <a:defRPr sz="800" i="1" baseline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sz="800" i="1" dirty="0"/>
              <a:t>Insert source</a:t>
            </a:r>
            <a:endParaRPr lang="en-US" dirty="0"/>
          </a:p>
        </p:txBody>
      </p:sp>
      <p:sp>
        <p:nvSpPr>
          <p:cNvPr id="17" name="Text Placeholder 18"/>
          <p:cNvSpPr txBox="1">
            <a:spLocks/>
          </p:cNvSpPr>
          <p:nvPr userDrawn="1"/>
        </p:nvSpPr>
        <p:spPr>
          <a:xfrm>
            <a:off x="412683" y="6370119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– 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8" name="Picture 13" descr="Mission_Statement_RGB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1" y="6418196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45088117"/>
      </p:ext>
    </p:extLst>
  </p:cSld>
  <p:clrMapOvr>
    <a:masterClrMapping/>
  </p:clrMapOvr>
  <p:hf sldNum="0" hdr="0" dt="0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_Gray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4" name="Text Placeholder 18"/>
          <p:cNvSpPr txBox="1">
            <a:spLocks/>
          </p:cNvSpPr>
          <p:nvPr/>
        </p:nvSpPr>
        <p:spPr>
          <a:xfrm>
            <a:off x="412683" y="6370119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2016 </a:t>
            </a:r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Navigant – A </a:t>
            </a:r>
            <a:r>
              <a:rPr lang="en-US" sz="900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Guidehouse</a:t>
            </a:r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Company Consulting,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Inc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304804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/>
        </p:nvSpPr>
        <p:spPr>
          <a:xfrm>
            <a:off x="85344" y="6365444"/>
            <a:ext cx="58521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1" y="6400190"/>
            <a:ext cx="1303209" cy="168518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3" name="Rectangle 1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304804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8"/>
          <p:cNvSpPr txBox="1">
            <a:spLocks/>
          </p:cNvSpPr>
          <p:nvPr userDrawn="1"/>
        </p:nvSpPr>
        <p:spPr>
          <a:xfrm>
            <a:off x="182021" y="6365444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17" name="Straight Connector 1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" name="Rectangle 18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20" name="Rectangle 19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21" name="Text Placeholder 18"/>
          <p:cNvSpPr txBox="1">
            <a:spLocks/>
          </p:cNvSpPr>
          <p:nvPr userDrawn="1"/>
        </p:nvSpPr>
        <p:spPr>
          <a:xfrm>
            <a:off x="412683" y="6370119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– 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22" name="Picture 13" descr="Mission_Statement_RGB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1" y="6418196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9564645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_Title Slide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84731"/>
            <a:ext cx="12201685" cy="6854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9" name="Freeform 8"/>
          <p:cNvSpPr/>
          <p:nvPr userDrawn="1"/>
        </p:nvSpPr>
        <p:spPr>
          <a:xfrm>
            <a:off x="-11936" y="-3149"/>
            <a:ext cx="11931119" cy="6942187"/>
          </a:xfrm>
          <a:custGeom>
            <a:avLst/>
            <a:gdLst>
              <a:gd name="connsiteX0" fmla="*/ 1643975 w 8501975"/>
              <a:gd name="connsiteY0" fmla="*/ 0 h 5175115"/>
              <a:gd name="connsiteX1" fmla="*/ 8501975 w 8501975"/>
              <a:gd name="connsiteY1" fmla="*/ 19455 h 5175115"/>
              <a:gd name="connsiteX2" fmla="*/ 4289898 w 8501975"/>
              <a:gd name="connsiteY2" fmla="*/ 5175115 h 5175115"/>
              <a:gd name="connsiteX3" fmla="*/ 0 w 8501975"/>
              <a:gd name="connsiteY3" fmla="*/ 5175115 h 5175115"/>
              <a:gd name="connsiteX4" fmla="*/ 0 w 8501975"/>
              <a:gd name="connsiteY4" fmla="*/ 4027251 h 5175115"/>
              <a:gd name="connsiteX5" fmla="*/ 1643975 w 8501975"/>
              <a:gd name="connsiteY5" fmla="*/ 0 h 5175115"/>
              <a:gd name="connsiteX0" fmla="*/ 1649126 w 8507126"/>
              <a:gd name="connsiteY0" fmla="*/ 0 h 5175115"/>
              <a:gd name="connsiteX1" fmla="*/ 8507126 w 8507126"/>
              <a:gd name="connsiteY1" fmla="*/ 19455 h 5175115"/>
              <a:gd name="connsiteX2" fmla="*/ 4295049 w 8507126"/>
              <a:gd name="connsiteY2" fmla="*/ 5175115 h 5175115"/>
              <a:gd name="connsiteX3" fmla="*/ 5151 w 8507126"/>
              <a:gd name="connsiteY3" fmla="*/ 5175115 h 5175115"/>
              <a:gd name="connsiteX4" fmla="*/ 0 w 8507126"/>
              <a:gd name="connsiteY4" fmla="*/ 4037554 h 5175115"/>
              <a:gd name="connsiteX5" fmla="*/ 1649126 w 8507126"/>
              <a:gd name="connsiteY5" fmla="*/ 0 h 5175115"/>
              <a:gd name="connsiteX0" fmla="*/ 1649127 w 8507127"/>
              <a:gd name="connsiteY0" fmla="*/ 0 h 5175115"/>
              <a:gd name="connsiteX1" fmla="*/ 8507127 w 8507127"/>
              <a:gd name="connsiteY1" fmla="*/ 19455 h 5175115"/>
              <a:gd name="connsiteX2" fmla="*/ 4295050 w 8507127"/>
              <a:gd name="connsiteY2" fmla="*/ 5175115 h 5175115"/>
              <a:gd name="connsiteX3" fmla="*/ 0 w 8507127"/>
              <a:gd name="connsiteY3" fmla="*/ 5175115 h 5175115"/>
              <a:gd name="connsiteX4" fmla="*/ 1 w 8507127"/>
              <a:gd name="connsiteY4" fmla="*/ 4037554 h 5175115"/>
              <a:gd name="connsiteX5" fmla="*/ 1649127 w 8507127"/>
              <a:gd name="connsiteY5" fmla="*/ 0 h 5175115"/>
              <a:gd name="connsiteX0" fmla="*/ 1690339 w 8507127"/>
              <a:gd name="connsiteY0" fmla="*/ 34637 h 5155660"/>
              <a:gd name="connsiteX1" fmla="*/ 8507127 w 8507127"/>
              <a:gd name="connsiteY1" fmla="*/ 0 h 5155660"/>
              <a:gd name="connsiteX2" fmla="*/ 4295050 w 8507127"/>
              <a:gd name="connsiteY2" fmla="*/ 5155660 h 5155660"/>
              <a:gd name="connsiteX3" fmla="*/ 0 w 8507127"/>
              <a:gd name="connsiteY3" fmla="*/ 5155660 h 5155660"/>
              <a:gd name="connsiteX4" fmla="*/ 1 w 8507127"/>
              <a:gd name="connsiteY4" fmla="*/ 4018099 h 5155660"/>
              <a:gd name="connsiteX5" fmla="*/ 1690339 w 8507127"/>
              <a:gd name="connsiteY5" fmla="*/ 34637 h 5155660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 w 8507127"/>
              <a:gd name="connsiteY4" fmla="*/ 4019523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46365 w 8507127"/>
              <a:gd name="connsiteY4" fmla="*/ 4006644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5455 w 8507127"/>
              <a:gd name="connsiteY4" fmla="*/ 3973159 h 5157084"/>
              <a:gd name="connsiteX5" fmla="*/ 1651702 w 8507127"/>
              <a:gd name="connsiteY5" fmla="*/ 0 h 5157084"/>
              <a:gd name="connsiteX0" fmla="*/ 1636247 w 8491672"/>
              <a:gd name="connsiteY0" fmla="*/ 0 h 5157084"/>
              <a:gd name="connsiteX1" fmla="*/ 8491672 w 8491672"/>
              <a:gd name="connsiteY1" fmla="*/ 1424 h 5157084"/>
              <a:gd name="connsiteX2" fmla="*/ 4279595 w 8491672"/>
              <a:gd name="connsiteY2" fmla="*/ 5157084 h 5157084"/>
              <a:gd name="connsiteX3" fmla="*/ 64394 w 8491672"/>
              <a:gd name="connsiteY3" fmla="*/ 5157084 h 5157084"/>
              <a:gd name="connsiteX4" fmla="*/ 0 w 8491672"/>
              <a:gd name="connsiteY4" fmla="*/ 3973159 h 5157084"/>
              <a:gd name="connsiteX5" fmla="*/ 1636247 w 8491672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2576 w 8494248"/>
              <a:gd name="connsiteY4" fmla="*/ 3973159 h 5157084"/>
              <a:gd name="connsiteX5" fmla="*/ 1638823 w 8494248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38637 w 8494248"/>
              <a:gd name="connsiteY4" fmla="*/ 4029826 h 5157084"/>
              <a:gd name="connsiteX5" fmla="*/ 1638823 w 8494248"/>
              <a:gd name="connsiteY5" fmla="*/ 0 h 5157084"/>
              <a:gd name="connsiteX0" fmla="*/ 1641398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41398 w 8496823"/>
              <a:gd name="connsiteY5" fmla="*/ 0 h 5157084"/>
              <a:gd name="connsiteX0" fmla="*/ 1638256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38256 w 8496823"/>
              <a:gd name="connsiteY5" fmla="*/ 0 h 5157084"/>
              <a:gd name="connsiteX0" fmla="*/ 1638256 w 8496823"/>
              <a:gd name="connsiteY0" fmla="*/ 0 h 6846184"/>
              <a:gd name="connsiteX1" fmla="*/ 8496823 w 8496823"/>
              <a:gd name="connsiteY1" fmla="*/ 1424 h 6846184"/>
              <a:gd name="connsiteX2" fmla="*/ 2900446 w 8496823"/>
              <a:gd name="connsiteY2" fmla="*/ 6846184 h 6846184"/>
              <a:gd name="connsiteX3" fmla="*/ 2575 w 8496823"/>
              <a:gd name="connsiteY3" fmla="*/ 5157084 h 6846184"/>
              <a:gd name="connsiteX4" fmla="*/ 0 w 8496823"/>
              <a:gd name="connsiteY4" fmla="*/ 3983462 h 6846184"/>
              <a:gd name="connsiteX5" fmla="*/ 1638256 w 8496823"/>
              <a:gd name="connsiteY5" fmla="*/ 0 h 6846184"/>
              <a:gd name="connsiteX0" fmla="*/ 16483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648381 w 8506948"/>
              <a:gd name="connsiteY5" fmla="*/ 0 h 6858884"/>
              <a:gd name="connsiteX0" fmla="*/ 15975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597581 w 8506948"/>
              <a:gd name="connsiteY5" fmla="*/ 0 h 6858884"/>
              <a:gd name="connsiteX0" fmla="*/ 2083733 w 8993100"/>
              <a:gd name="connsiteY0" fmla="*/ 0 h 6858884"/>
              <a:gd name="connsiteX1" fmla="*/ 8993100 w 8993100"/>
              <a:gd name="connsiteY1" fmla="*/ 1424 h 6858884"/>
              <a:gd name="connsiteX2" fmla="*/ 3396723 w 8993100"/>
              <a:gd name="connsiteY2" fmla="*/ 6846184 h 6858884"/>
              <a:gd name="connsiteX3" fmla="*/ 486152 w 8993100"/>
              <a:gd name="connsiteY3" fmla="*/ 6858884 h 6858884"/>
              <a:gd name="connsiteX4" fmla="*/ 0 w 8993100"/>
              <a:gd name="connsiteY4" fmla="*/ 5136231 h 6858884"/>
              <a:gd name="connsiteX5" fmla="*/ 2083733 w 8993100"/>
              <a:gd name="connsiteY5" fmla="*/ 0 h 6858884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36231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57907"/>
              <a:gd name="connsiteX1" fmla="*/ 8993100 w 8993100"/>
              <a:gd name="connsiteY1" fmla="*/ 1424 h 6857907"/>
              <a:gd name="connsiteX2" fmla="*/ 3388908 w 8993100"/>
              <a:gd name="connsiteY2" fmla="*/ 6857907 h 6857907"/>
              <a:gd name="connsiteX3" fmla="*/ 99290 w 8993100"/>
              <a:gd name="connsiteY3" fmla="*/ 6851069 h 6857907"/>
              <a:gd name="connsiteX4" fmla="*/ 0 w 8993100"/>
              <a:gd name="connsiteY4" fmla="*/ 5124508 h 6857907"/>
              <a:gd name="connsiteX5" fmla="*/ 2083733 w 8993100"/>
              <a:gd name="connsiteY5" fmla="*/ 0 h 6857907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5505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7554"/>
              <a:gd name="connsiteX1" fmla="*/ 8993100 w 8993100"/>
              <a:gd name="connsiteY1" fmla="*/ 6186 h 6867554"/>
              <a:gd name="connsiteX2" fmla="*/ 3388908 w 8993100"/>
              <a:gd name="connsiteY2" fmla="*/ 6862669 h 6867554"/>
              <a:gd name="connsiteX3" fmla="*/ 5505 w 8993100"/>
              <a:gd name="connsiteY3" fmla="*/ 6867554 h 6867554"/>
              <a:gd name="connsiteX4" fmla="*/ 0 w 8993100"/>
              <a:gd name="connsiteY4" fmla="*/ 5129270 h 6867554"/>
              <a:gd name="connsiteX5" fmla="*/ 2083733 w 8993100"/>
              <a:gd name="connsiteY5" fmla="*/ 0 h 6867554"/>
              <a:gd name="connsiteX0" fmla="*/ 2083733 w 8791676"/>
              <a:gd name="connsiteY0" fmla="*/ 0 h 6867554"/>
              <a:gd name="connsiteX1" fmla="*/ 8791676 w 8791676"/>
              <a:gd name="connsiteY1" fmla="*/ 22172 h 6867554"/>
              <a:gd name="connsiteX2" fmla="*/ 3388908 w 8791676"/>
              <a:gd name="connsiteY2" fmla="*/ 6862669 h 6867554"/>
              <a:gd name="connsiteX3" fmla="*/ 5505 w 8791676"/>
              <a:gd name="connsiteY3" fmla="*/ 6867554 h 6867554"/>
              <a:gd name="connsiteX4" fmla="*/ 0 w 8791676"/>
              <a:gd name="connsiteY4" fmla="*/ 5129270 h 6867554"/>
              <a:gd name="connsiteX5" fmla="*/ 2083733 w 8791676"/>
              <a:gd name="connsiteY5" fmla="*/ 0 h 6867554"/>
              <a:gd name="connsiteX0" fmla="*/ 2083733 w 8948339"/>
              <a:gd name="connsiteY0" fmla="*/ 208 h 6867762"/>
              <a:gd name="connsiteX1" fmla="*/ 8948339 w 8948339"/>
              <a:gd name="connsiteY1" fmla="*/ 0 h 6867762"/>
              <a:gd name="connsiteX2" fmla="*/ 3388908 w 8948339"/>
              <a:gd name="connsiteY2" fmla="*/ 6862877 h 6867762"/>
              <a:gd name="connsiteX3" fmla="*/ 5505 w 8948339"/>
              <a:gd name="connsiteY3" fmla="*/ 6867762 h 6867762"/>
              <a:gd name="connsiteX4" fmla="*/ 0 w 8948339"/>
              <a:gd name="connsiteY4" fmla="*/ 5129478 h 6867762"/>
              <a:gd name="connsiteX5" fmla="*/ 2083733 w 8948339"/>
              <a:gd name="connsiteY5" fmla="*/ 208 h 686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48339" h="6867762">
                <a:moveTo>
                  <a:pt x="2083733" y="208"/>
                </a:moveTo>
                <a:lnTo>
                  <a:pt x="8948339" y="0"/>
                </a:lnTo>
                <a:lnTo>
                  <a:pt x="3388908" y="6862877"/>
                </a:lnTo>
                <a:lnTo>
                  <a:pt x="5505" y="6867762"/>
                </a:lnTo>
                <a:cubicBezTo>
                  <a:pt x="5505" y="6488575"/>
                  <a:pt x="0" y="5508665"/>
                  <a:pt x="0" y="5129478"/>
                </a:cubicBezTo>
                <a:lnTo>
                  <a:pt x="2083733" y="208"/>
                </a:lnTo>
                <a:close/>
              </a:path>
            </a:pathLst>
          </a:cu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866737" y="3588760"/>
            <a:ext cx="6604000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1866741" y="3692359"/>
            <a:ext cx="5576799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sz="1600" dirty="0"/>
              <a:t>Click to edit SUB 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1866741" y="3059451"/>
            <a:ext cx="6154313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79976" y="6197565"/>
            <a:ext cx="2658995" cy="34383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email">
            <a:duotone>
              <a:prstClr val="black"/>
              <a:srgbClr val="95D6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934" y="-3993"/>
            <a:ext cx="2809700" cy="5232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165863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Block_Title Slide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396" y="3692"/>
            <a:ext cx="12201685" cy="68543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786488" y="3588760"/>
            <a:ext cx="9005617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2786487" y="3692359"/>
            <a:ext cx="9005616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sz="1600" dirty="0"/>
              <a:t>Click to edit SUB 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2786487" y="3059451"/>
            <a:ext cx="9005616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Freeform 14"/>
          <p:cNvSpPr/>
          <p:nvPr userDrawn="1"/>
        </p:nvSpPr>
        <p:spPr>
          <a:xfrm>
            <a:off x="-8596" y="-3908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40800" y="6042893"/>
            <a:ext cx="3144520" cy="654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263969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9" y="3"/>
            <a:ext cx="6095999" cy="68571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8" name="Rectangle 17"/>
          <p:cNvSpPr/>
          <p:nvPr userDrawn="1"/>
        </p:nvSpPr>
        <p:spPr>
          <a:xfrm>
            <a:off x="1" y="868"/>
            <a:ext cx="6096000" cy="6857135"/>
          </a:xfrm>
          <a:prstGeom prst="rect">
            <a:avLst/>
          </a:prstGeom>
          <a:solidFill>
            <a:srgbClr val="5C5C5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9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8947054" y="858420"/>
            <a:ext cx="2963436" cy="4842504"/>
          </a:xfrm>
          <a:prstGeom prst="rect">
            <a:avLst/>
          </a:prstGeom>
        </p:spPr>
        <p:txBody>
          <a:bodyPr vert="horz" lIns="0" rIns="0" bIns="0" anchor="ctr"/>
          <a:lstStyle>
            <a:lvl1pPr marL="0" indent="0">
              <a:buFontTx/>
              <a:buNone/>
              <a:defRPr sz="2000" cap="all" baseline="0">
                <a:solidFill>
                  <a:srgbClr val="555759"/>
                </a:solidFill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SLIDE</a:t>
            </a:r>
          </a:p>
          <a:p>
            <a:pPr lvl="0"/>
            <a:r>
              <a:rPr lang="en-US" dirty="0"/>
              <a:t>OPTIONAL TEXT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2527" y="858420"/>
            <a:ext cx="5246949" cy="484250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1" y="6396705"/>
            <a:ext cx="1303209" cy="168678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-11935" y="6396704"/>
            <a:ext cx="610793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i="1" dirty="0">
                <a:solidFill>
                  <a:srgbClr val="555759">
                    <a:lumMod val="60000"/>
                    <a:lumOff val="40000"/>
                  </a:srgbClr>
                </a:solidFill>
              </a:rPr>
              <a:t>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51863887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_Title Slide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84731"/>
            <a:ext cx="12201685" cy="6854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9" name="Freeform 8"/>
          <p:cNvSpPr/>
          <p:nvPr userDrawn="1"/>
        </p:nvSpPr>
        <p:spPr>
          <a:xfrm>
            <a:off x="-11936" y="-3149"/>
            <a:ext cx="11931119" cy="6942187"/>
          </a:xfrm>
          <a:custGeom>
            <a:avLst/>
            <a:gdLst>
              <a:gd name="connsiteX0" fmla="*/ 1643975 w 8501975"/>
              <a:gd name="connsiteY0" fmla="*/ 0 h 5175115"/>
              <a:gd name="connsiteX1" fmla="*/ 8501975 w 8501975"/>
              <a:gd name="connsiteY1" fmla="*/ 19455 h 5175115"/>
              <a:gd name="connsiteX2" fmla="*/ 4289898 w 8501975"/>
              <a:gd name="connsiteY2" fmla="*/ 5175115 h 5175115"/>
              <a:gd name="connsiteX3" fmla="*/ 0 w 8501975"/>
              <a:gd name="connsiteY3" fmla="*/ 5175115 h 5175115"/>
              <a:gd name="connsiteX4" fmla="*/ 0 w 8501975"/>
              <a:gd name="connsiteY4" fmla="*/ 4027251 h 5175115"/>
              <a:gd name="connsiteX5" fmla="*/ 1643975 w 8501975"/>
              <a:gd name="connsiteY5" fmla="*/ 0 h 5175115"/>
              <a:gd name="connsiteX0" fmla="*/ 1649126 w 8507126"/>
              <a:gd name="connsiteY0" fmla="*/ 0 h 5175115"/>
              <a:gd name="connsiteX1" fmla="*/ 8507126 w 8507126"/>
              <a:gd name="connsiteY1" fmla="*/ 19455 h 5175115"/>
              <a:gd name="connsiteX2" fmla="*/ 4295049 w 8507126"/>
              <a:gd name="connsiteY2" fmla="*/ 5175115 h 5175115"/>
              <a:gd name="connsiteX3" fmla="*/ 5151 w 8507126"/>
              <a:gd name="connsiteY3" fmla="*/ 5175115 h 5175115"/>
              <a:gd name="connsiteX4" fmla="*/ 0 w 8507126"/>
              <a:gd name="connsiteY4" fmla="*/ 4037554 h 5175115"/>
              <a:gd name="connsiteX5" fmla="*/ 1649126 w 8507126"/>
              <a:gd name="connsiteY5" fmla="*/ 0 h 5175115"/>
              <a:gd name="connsiteX0" fmla="*/ 1649127 w 8507127"/>
              <a:gd name="connsiteY0" fmla="*/ 0 h 5175115"/>
              <a:gd name="connsiteX1" fmla="*/ 8507127 w 8507127"/>
              <a:gd name="connsiteY1" fmla="*/ 19455 h 5175115"/>
              <a:gd name="connsiteX2" fmla="*/ 4295050 w 8507127"/>
              <a:gd name="connsiteY2" fmla="*/ 5175115 h 5175115"/>
              <a:gd name="connsiteX3" fmla="*/ 0 w 8507127"/>
              <a:gd name="connsiteY3" fmla="*/ 5175115 h 5175115"/>
              <a:gd name="connsiteX4" fmla="*/ 1 w 8507127"/>
              <a:gd name="connsiteY4" fmla="*/ 4037554 h 5175115"/>
              <a:gd name="connsiteX5" fmla="*/ 1649127 w 8507127"/>
              <a:gd name="connsiteY5" fmla="*/ 0 h 5175115"/>
              <a:gd name="connsiteX0" fmla="*/ 1690339 w 8507127"/>
              <a:gd name="connsiteY0" fmla="*/ 34637 h 5155660"/>
              <a:gd name="connsiteX1" fmla="*/ 8507127 w 8507127"/>
              <a:gd name="connsiteY1" fmla="*/ 0 h 5155660"/>
              <a:gd name="connsiteX2" fmla="*/ 4295050 w 8507127"/>
              <a:gd name="connsiteY2" fmla="*/ 5155660 h 5155660"/>
              <a:gd name="connsiteX3" fmla="*/ 0 w 8507127"/>
              <a:gd name="connsiteY3" fmla="*/ 5155660 h 5155660"/>
              <a:gd name="connsiteX4" fmla="*/ 1 w 8507127"/>
              <a:gd name="connsiteY4" fmla="*/ 4018099 h 5155660"/>
              <a:gd name="connsiteX5" fmla="*/ 1690339 w 8507127"/>
              <a:gd name="connsiteY5" fmla="*/ 34637 h 5155660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 w 8507127"/>
              <a:gd name="connsiteY4" fmla="*/ 4019523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46365 w 8507127"/>
              <a:gd name="connsiteY4" fmla="*/ 4006644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5455 w 8507127"/>
              <a:gd name="connsiteY4" fmla="*/ 3973159 h 5157084"/>
              <a:gd name="connsiteX5" fmla="*/ 1651702 w 8507127"/>
              <a:gd name="connsiteY5" fmla="*/ 0 h 5157084"/>
              <a:gd name="connsiteX0" fmla="*/ 1636247 w 8491672"/>
              <a:gd name="connsiteY0" fmla="*/ 0 h 5157084"/>
              <a:gd name="connsiteX1" fmla="*/ 8491672 w 8491672"/>
              <a:gd name="connsiteY1" fmla="*/ 1424 h 5157084"/>
              <a:gd name="connsiteX2" fmla="*/ 4279595 w 8491672"/>
              <a:gd name="connsiteY2" fmla="*/ 5157084 h 5157084"/>
              <a:gd name="connsiteX3" fmla="*/ 64394 w 8491672"/>
              <a:gd name="connsiteY3" fmla="*/ 5157084 h 5157084"/>
              <a:gd name="connsiteX4" fmla="*/ 0 w 8491672"/>
              <a:gd name="connsiteY4" fmla="*/ 3973159 h 5157084"/>
              <a:gd name="connsiteX5" fmla="*/ 1636247 w 8491672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2576 w 8494248"/>
              <a:gd name="connsiteY4" fmla="*/ 3973159 h 5157084"/>
              <a:gd name="connsiteX5" fmla="*/ 1638823 w 8494248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38637 w 8494248"/>
              <a:gd name="connsiteY4" fmla="*/ 4029826 h 5157084"/>
              <a:gd name="connsiteX5" fmla="*/ 1638823 w 8494248"/>
              <a:gd name="connsiteY5" fmla="*/ 0 h 5157084"/>
              <a:gd name="connsiteX0" fmla="*/ 1641398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41398 w 8496823"/>
              <a:gd name="connsiteY5" fmla="*/ 0 h 5157084"/>
              <a:gd name="connsiteX0" fmla="*/ 1638256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38256 w 8496823"/>
              <a:gd name="connsiteY5" fmla="*/ 0 h 5157084"/>
              <a:gd name="connsiteX0" fmla="*/ 1638256 w 8496823"/>
              <a:gd name="connsiteY0" fmla="*/ 0 h 6846184"/>
              <a:gd name="connsiteX1" fmla="*/ 8496823 w 8496823"/>
              <a:gd name="connsiteY1" fmla="*/ 1424 h 6846184"/>
              <a:gd name="connsiteX2" fmla="*/ 2900446 w 8496823"/>
              <a:gd name="connsiteY2" fmla="*/ 6846184 h 6846184"/>
              <a:gd name="connsiteX3" fmla="*/ 2575 w 8496823"/>
              <a:gd name="connsiteY3" fmla="*/ 5157084 h 6846184"/>
              <a:gd name="connsiteX4" fmla="*/ 0 w 8496823"/>
              <a:gd name="connsiteY4" fmla="*/ 3983462 h 6846184"/>
              <a:gd name="connsiteX5" fmla="*/ 1638256 w 8496823"/>
              <a:gd name="connsiteY5" fmla="*/ 0 h 6846184"/>
              <a:gd name="connsiteX0" fmla="*/ 16483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648381 w 8506948"/>
              <a:gd name="connsiteY5" fmla="*/ 0 h 6858884"/>
              <a:gd name="connsiteX0" fmla="*/ 15975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597581 w 8506948"/>
              <a:gd name="connsiteY5" fmla="*/ 0 h 6858884"/>
              <a:gd name="connsiteX0" fmla="*/ 2083733 w 8993100"/>
              <a:gd name="connsiteY0" fmla="*/ 0 h 6858884"/>
              <a:gd name="connsiteX1" fmla="*/ 8993100 w 8993100"/>
              <a:gd name="connsiteY1" fmla="*/ 1424 h 6858884"/>
              <a:gd name="connsiteX2" fmla="*/ 3396723 w 8993100"/>
              <a:gd name="connsiteY2" fmla="*/ 6846184 h 6858884"/>
              <a:gd name="connsiteX3" fmla="*/ 486152 w 8993100"/>
              <a:gd name="connsiteY3" fmla="*/ 6858884 h 6858884"/>
              <a:gd name="connsiteX4" fmla="*/ 0 w 8993100"/>
              <a:gd name="connsiteY4" fmla="*/ 5136231 h 6858884"/>
              <a:gd name="connsiteX5" fmla="*/ 2083733 w 8993100"/>
              <a:gd name="connsiteY5" fmla="*/ 0 h 6858884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36231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57907"/>
              <a:gd name="connsiteX1" fmla="*/ 8993100 w 8993100"/>
              <a:gd name="connsiteY1" fmla="*/ 1424 h 6857907"/>
              <a:gd name="connsiteX2" fmla="*/ 3388908 w 8993100"/>
              <a:gd name="connsiteY2" fmla="*/ 6857907 h 6857907"/>
              <a:gd name="connsiteX3" fmla="*/ 99290 w 8993100"/>
              <a:gd name="connsiteY3" fmla="*/ 6851069 h 6857907"/>
              <a:gd name="connsiteX4" fmla="*/ 0 w 8993100"/>
              <a:gd name="connsiteY4" fmla="*/ 5124508 h 6857907"/>
              <a:gd name="connsiteX5" fmla="*/ 2083733 w 8993100"/>
              <a:gd name="connsiteY5" fmla="*/ 0 h 6857907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5505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7554"/>
              <a:gd name="connsiteX1" fmla="*/ 8993100 w 8993100"/>
              <a:gd name="connsiteY1" fmla="*/ 6186 h 6867554"/>
              <a:gd name="connsiteX2" fmla="*/ 3388908 w 8993100"/>
              <a:gd name="connsiteY2" fmla="*/ 6862669 h 6867554"/>
              <a:gd name="connsiteX3" fmla="*/ 5505 w 8993100"/>
              <a:gd name="connsiteY3" fmla="*/ 6867554 h 6867554"/>
              <a:gd name="connsiteX4" fmla="*/ 0 w 8993100"/>
              <a:gd name="connsiteY4" fmla="*/ 5129270 h 6867554"/>
              <a:gd name="connsiteX5" fmla="*/ 2083733 w 8993100"/>
              <a:gd name="connsiteY5" fmla="*/ 0 h 6867554"/>
              <a:gd name="connsiteX0" fmla="*/ 2083733 w 8791676"/>
              <a:gd name="connsiteY0" fmla="*/ 0 h 6867554"/>
              <a:gd name="connsiteX1" fmla="*/ 8791676 w 8791676"/>
              <a:gd name="connsiteY1" fmla="*/ 22172 h 6867554"/>
              <a:gd name="connsiteX2" fmla="*/ 3388908 w 8791676"/>
              <a:gd name="connsiteY2" fmla="*/ 6862669 h 6867554"/>
              <a:gd name="connsiteX3" fmla="*/ 5505 w 8791676"/>
              <a:gd name="connsiteY3" fmla="*/ 6867554 h 6867554"/>
              <a:gd name="connsiteX4" fmla="*/ 0 w 8791676"/>
              <a:gd name="connsiteY4" fmla="*/ 5129270 h 6867554"/>
              <a:gd name="connsiteX5" fmla="*/ 2083733 w 8791676"/>
              <a:gd name="connsiteY5" fmla="*/ 0 h 6867554"/>
              <a:gd name="connsiteX0" fmla="*/ 2083733 w 8948339"/>
              <a:gd name="connsiteY0" fmla="*/ 208 h 6867762"/>
              <a:gd name="connsiteX1" fmla="*/ 8948339 w 8948339"/>
              <a:gd name="connsiteY1" fmla="*/ 0 h 6867762"/>
              <a:gd name="connsiteX2" fmla="*/ 3388908 w 8948339"/>
              <a:gd name="connsiteY2" fmla="*/ 6862877 h 6867762"/>
              <a:gd name="connsiteX3" fmla="*/ 5505 w 8948339"/>
              <a:gd name="connsiteY3" fmla="*/ 6867762 h 6867762"/>
              <a:gd name="connsiteX4" fmla="*/ 0 w 8948339"/>
              <a:gd name="connsiteY4" fmla="*/ 5129478 h 6867762"/>
              <a:gd name="connsiteX5" fmla="*/ 2083733 w 8948339"/>
              <a:gd name="connsiteY5" fmla="*/ 208 h 686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48339" h="6867762">
                <a:moveTo>
                  <a:pt x="2083733" y="208"/>
                </a:moveTo>
                <a:lnTo>
                  <a:pt x="8948339" y="0"/>
                </a:lnTo>
                <a:lnTo>
                  <a:pt x="3388908" y="6862877"/>
                </a:lnTo>
                <a:lnTo>
                  <a:pt x="5505" y="6867762"/>
                </a:lnTo>
                <a:cubicBezTo>
                  <a:pt x="5505" y="6488575"/>
                  <a:pt x="0" y="5508665"/>
                  <a:pt x="0" y="5129478"/>
                </a:cubicBezTo>
                <a:lnTo>
                  <a:pt x="2083733" y="208"/>
                </a:lnTo>
                <a:close/>
              </a:path>
            </a:pathLst>
          </a:cu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866737" y="3588760"/>
            <a:ext cx="6604000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1866741" y="3692359"/>
            <a:ext cx="5576799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sz="1600" dirty="0"/>
              <a:t>Click to edit SUB 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1866741" y="3059451"/>
            <a:ext cx="6154313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79976" y="6197565"/>
            <a:ext cx="2658995" cy="34383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email">
            <a:duotone>
              <a:prstClr val="black"/>
              <a:srgbClr val="95D6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934" y="-3993"/>
            <a:ext cx="2809700" cy="5232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351661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Block_Title Slide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396" y="3692"/>
            <a:ext cx="12201685" cy="68543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786488" y="3588760"/>
            <a:ext cx="9005617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2786487" y="3692359"/>
            <a:ext cx="9005616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sz="1600" dirty="0"/>
              <a:t>Click to edit SUB 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2786487" y="3059451"/>
            <a:ext cx="9005616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Freeform 14"/>
          <p:cNvSpPr/>
          <p:nvPr userDrawn="1"/>
        </p:nvSpPr>
        <p:spPr>
          <a:xfrm>
            <a:off x="-8596" y="-3908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40800" y="6042893"/>
            <a:ext cx="3144520" cy="654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049873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y Bar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4" name="Text Placeholder 18"/>
          <p:cNvSpPr txBox="1">
            <a:spLocks/>
          </p:cNvSpPr>
          <p:nvPr userDrawn="1"/>
        </p:nvSpPr>
        <p:spPr>
          <a:xfrm>
            <a:off x="412683" y="6370119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2019 </a:t>
            </a:r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Navigant – A </a:t>
            </a:r>
            <a:r>
              <a:rPr lang="en-US" sz="900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Guidehouse</a:t>
            </a:r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Company Consulting,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Inc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04804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 userDrawn="1"/>
        </p:nvSpPr>
        <p:spPr>
          <a:xfrm>
            <a:off x="182021" y="6365444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cxnSp>
        <p:nvCxnSpPr>
          <p:cNvPr id="7" name="Straight Connector 6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7281" y="6400190"/>
            <a:ext cx="1303209" cy="168518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287453" y="1"/>
            <a:ext cx="11623035" cy="1011420"/>
          </a:xfrm>
          <a:prstGeom prst="rect">
            <a:avLst/>
          </a:prstGeom>
        </p:spPr>
        <p:txBody>
          <a:bodyPr anchor="b"/>
          <a:lstStyle>
            <a:lvl1pPr>
              <a:defRPr sz="2200" cap="all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3" name="Rectangle 14"/>
          <p:cNvSpPr>
            <a:spLocks noGrp="1" noChangeArrowheads="1"/>
          </p:cNvSpPr>
          <p:nvPr>
            <p:ph idx="1"/>
          </p:nvPr>
        </p:nvSpPr>
        <p:spPr bwMode="auto">
          <a:xfrm>
            <a:off x="287453" y="1403684"/>
            <a:ext cx="11623035" cy="4765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5390044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9" y="3"/>
            <a:ext cx="6095999" cy="68571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8" name="Rectangle 17"/>
          <p:cNvSpPr/>
          <p:nvPr userDrawn="1"/>
        </p:nvSpPr>
        <p:spPr>
          <a:xfrm>
            <a:off x="1" y="868"/>
            <a:ext cx="6096000" cy="6857135"/>
          </a:xfrm>
          <a:prstGeom prst="rect">
            <a:avLst/>
          </a:prstGeom>
          <a:solidFill>
            <a:srgbClr val="5C5C5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9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8947054" y="858420"/>
            <a:ext cx="2963436" cy="4842504"/>
          </a:xfrm>
          <a:prstGeom prst="rect">
            <a:avLst/>
          </a:prstGeom>
        </p:spPr>
        <p:txBody>
          <a:bodyPr vert="horz" lIns="0" rIns="0" bIns="0" anchor="ctr"/>
          <a:lstStyle>
            <a:lvl1pPr marL="0" indent="0">
              <a:buFontTx/>
              <a:buNone/>
              <a:defRPr sz="2000" cap="all" baseline="0">
                <a:solidFill>
                  <a:srgbClr val="555759"/>
                </a:solidFill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SLIDE</a:t>
            </a:r>
          </a:p>
          <a:p>
            <a:pPr lvl="0"/>
            <a:r>
              <a:rPr lang="en-US" dirty="0"/>
              <a:t>OPTIONAL TEXT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2527" y="858420"/>
            <a:ext cx="5246949" cy="484250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1" y="6396705"/>
            <a:ext cx="1303209" cy="168678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-11935" y="6396704"/>
            <a:ext cx="610793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i="1" dirty="0">
                <a:solidFill>
                  <a:srgbClr val="555759">
                    <a:lumMod val="60000"/>
                    <a:lumOff val="40000"/>
                  </a:srgbClr>
                </a:solidFill>
              </a:rPr>
              <a:t>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3205522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396" y="3692"/>
            <a:ext cx="12201685" cy="6854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>
          <a:xfrm>
            <a:off x="-11936" y="-3148"/>
            <a:ext cx="11931119" cy="6867762"/>
          </a:xfrm>
          <a:custGeom>
            <a:avLst/>
            <a:gdLst>
              <a:gd name="connsiteX0" fmla="*/ 1643975 w 8501975"/>
              <a:gd name="connsiteY0" fmla="*/ 0 h 5175115"/>
              <a:gd name="connsiteX1" fmla="*/ 8501975 w 8501975"/>
              <a:gd name="connsiteY1" fmla="*/ 19455 h 5175115"/>
              <a:gd name="connsiteX2" fmla="*/ 4289898 w 8501975"/>
              <a:gd name="connsiteY2" fmla="*/ 5175115 h 5175115"/>
              <a:gd name="connsiteX3" fmla="*/ 0 w 8501975"/>
              <a:gd name="connsiteY3" fmla="*/ 5175115 h 5175115"/>
              <a:gd name="connsiteX4" fmla="*/ 0 w 8501975"/>
              <a:gd name="connsiteY4" fmla="*/ 4027251 h 5175115"/>
              <a:gd name="connsiteX5" fmla="*/ 1643975 w 8501975"/>
              <a:gd name="connsiteY5" fmla="*/ 0 h 5175115"/>
              <a:gd name="connsiteX0" fmla="*/ 1649126 w 8507126"/>
              <a:gd name="connsiteY0" fmla="*/ 0 h 5175115"/>
              <a:gd name="connsiteX1" fmla="*/ 8507126 w 8507126"/>
              <a:gd name="connsiteY1" fmla="*/ 19455 h 5175115"/>
              <a:gd name="connsiteX2" fmla="*/ 4295049 w 8507126"/>
              <a:gd name="connsiteY2" fmla="*/ 5175115 h 5175115"/>
              <a:gd name="connsiteX3" fmla="*/ 5151 w 8507126"/>
              <a:gd name="connsiteY3" fmla="*/ 5175115 h 5175115"/>
              <a:gd name="connsiteX4" fmla="*/ 0 w 8507126"/>
              <a:gd name="connsiteY4" fmla="*/ 4037554 h 5175115"/>
              <a:gd name="connsiteX5" fmla="*/ 1649126 w 8507126"/>
              <a:gd name="connsiteY5" fmla="*/ 0 h 5175115"/>
              <a:gd name="connsiteX0" fmla="*/ 1649127 w 8507127"/>
              <a:gd name="connsiteY0" fmla="*/ 0 h 5175115"/>
              <a:gd name="connsiteX1" fmla="*/ 8507127 w 8507127"/>
              <a:gd name="connsiteY1" fmla="*/ 19455 h 5175115"/>
              <a:gd name="connsiteX2" fmla="*/ 4295050 w 8507127"/>
              <a:gd name="connsiteY2" fmla="*/ 5175115 h 5175115"/>
              <a:gd name="connsiteX3" fmla="*/ 0 w 8507127"/>
              <a:gd name="connsiteY3" fmla="*/ 5175115 h 5175115"/>
              <a:gd name="connsiteX4" fmla="*/ 1 w 8507127"/>
              <a:gd name="connsiteY4" fmla="*/ 4037554 h 5175115"/>
              <a:gd name="connsiteX5" fmla="*/ 1649127 w 8507127"/>
              <a:gd name="connsiteY5" fmla="*/ 0 h 5175115"/>
              <a:gd name="connsiteX0" fmla="*/ 1690339 w 8507127"/>
              <a:gd name="connsiteY0" fmla="*/ 34637 h 5155660"/>
              <a:gd name="connsiteX1" fmla="*/ 8507127 w 8507127"/>
              <a:gd name="connsiteY1" fmla="*/ 0 h 5155660"/>
              <a:gd name="connsiteX2" fmla="*/ 4295050 w 8507127"/>
              <a:gd name="connsiteY2" fmla="*/ 5155660 h 5155660"/>
              <a:gd name="connsiteX3" fmla="*/ 0 w 8507127"/>
              <a:gd name="connsiteY3" fmla="*/ 5155660 h 5155660"/>
              <a:gd name="connsiteX4" fmla="*/ 1 w 8507127"/>
              <a:gd name="connsiteY4" fmla="*/ 4018099 h 5155660"/>
              <a:gd name="connsiteX5" fmla="*/ 1690339 w 8507127"/>
              <a:gd name="connsiteY5" fmla="*/ 34637 h 5155660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 w 8507127"/>
              <a:gd name="connsiteY4" fmla="*/ 4019523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46365 w 8507127"/>
              <a:gd name="connsiteY4" fmla="*/ 4006644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5455 w 8507127"/>
              <a:gd name="connsiteY4" fmla="*/ 3973159 h 5157084"/>
              <a:gd name="connsiteX5" fmla="*/ 1651702 w 8507127"/>
              <a:gd name="connsiteY5" fmla="*/ 0 h 5157084"/>
              <a:gd name="connsiteX0" fmla="*/ 1636247 w 8491672"/>
              <a:gd name="connsiteY0" fmla="*/ 0 h 5157084"/>
              <a:gd name="connsiteX1" fmla="*/ 8491672 w 8491672"/>
              <a:gd name="connsiteY1" fmla="*/ 1424 h 5157084"/>
              <a:gd name="connsiteX2" fmla="*/ 4279595 w 8491672"/>
              <a:gd name="connsiteY2" fmla="*/ 5157084 h 5157084"/>
              <a:gd name="connsiteX3" fmla="*/ 64394 w 8491672"/>
              <a:gd name="connsiteY3" fmla="*/ 5157084 h 5157084"/>
              <a:gd name="connsiteX4" fmla="*/ 0 w 8491672"/>
              <a:gd name="connsiteY4" fmla="*/ 3973159 h 5157084"/>
              <a:gd name="connsiteX5" fmla="*/ 1636247 w 8491672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2576 w 8494248"/>
              <a:gd name="connsiteY4" fmla="*/ 3973159 h 5157084"/>
              <a:gd name="connsiteX5" fmla="*/ 1638823 w 8494248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38637 w 8494248"/>
              <a:gd name="connsiteY4" fmla="*/ 4029826 h 5157084"/>
              <a:gd name="connsiteX5" fmla="*/ 1638823 w 8494248"/>
              <a:gd name="connsiteY5" fmla="*/ 0 h 5157084"/>
              <a:gd name="connsiteX0" fmla="*/ 1641398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41398 w 8496823"/>
              <a:gd name="connsiteY5" fmla="*/ 0 h 5157084"/>
              <a:gd name="connsiteX0" fmla="*/ 1638256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38256 w 8496823"/>
              <a:gd name="connsiteY5" fmla="*/ 0 h 5157084"/>
              <a:gd name="connsiteX0" fmla="*/ 1638256 w 8496823"/>
              <a:gd name="connsiteY0" fmla="*/ 0 h 6846184"/>
              <a:gd name="connsiteX1" fmla="*/ 8496823 w 8496823"/>
              <a:gd name="connsiteY1" fmla="*/ 1424 h 6846184"/>
              <a:gd name="connsiteX2" fmla="*/ 2900446 w 8496823"/>
              <a:gd name="connsiteY2" fmla="*/ 6846184 h 6846184"/>
              <a:gd name="connsiteX3" fmla="*/ 2575 w 8496823"/>
              <a:gd name="connsiteY3" fmla="*/ 5157084 h 6846184"/>
              <a:gd name="connsiteX4" fmla="*/ 0 w 8496823"/>
              <a:gd name="connsiteY4" fmla="*/ 3983462 h 6846184"/>
              <a:gd name="connsiteX5" fmla="*/ 1638256 w 8496823"/>
              <a:gd name="connsiteY5" fmla="*/ 0 h 6846184"/>
              <a:gd name="connsiteX0" fmla="*/ 16483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648381 w 8506948"/>
              <a:gd name="connsiteY5" fmla="*/ 0 h 6858884"/>
              <a:gd name="connsiteX0" fmla="*/ 15975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597581 w 8506948"/>
              <a:gd name="connsiteY5" fmla="*/ 0 h 6858884"/>
              <a:gd name="connsiteX0" fmla="*/ 2083733 w 8993100"/>
              <a:gd name="connsiteY0" fmla="*/ 0 h 6858884"/>
              <a:gd name="connsiteX1" fmla="*/ 8993100 w 8993100"/>
              <a:gd name="connsiteY1" fmla="*/ 1424 h 6858884"/>
              <a:gd name="connsiteX2" fmla="*/ 3396723 w 8993100"/>
              <a:gd name="connsiteY2" fmla="*/ 6846184 h 6858884"/>
              <a:gd name="connsiteX3" fmla="*/ 486152 w 8993100"/>
              <a:gd name="connsiteY3" fmla="*/ 6858884 h 6858884"/>
              <a:gd name="connsiteX4" fmla="*/ 0 w 8993100"/>
              <a:gd name="connsiteY4" fmla="*/ 5136231 h 6858884"/>
              <a:gd name="connsiteX5" fmla="*/ 2083733 w 8993100"/>
              <a:gd name="connsiteY5" fmla="*/ 0 h 6858884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36231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57907"/>
              <a:gd name="connsiteX1" fmla="*/ 8993100 w 8993100"/>
              <a:gd name="connsiteY1" fmla="*/ 1424 h 6857907"/>
              <a:gd name="connsiteX2" fmla="*/ 3388908 w 8993100"/>
              <a:gd name="connsiteY2" fmla="*/ 6857907 h 6857907"/>
              <a:gd name="connsiteX3" fmla="*/ 99290 w 8993100"/>
              <a:gd name="connsiteY3" fmla="*/ 6851069 h 6857907"/>
              <a:gd name="connsiteX4" fmla="*/ 0 w 8993100"/>
              <a:gd name="connsiteY4" fmla="*/ 5124508 h 6857907"/>
              <a:gd name="connsiteX5" fmla="*/ 2083733 w 8993100"/>
              <a:gd name="connsiteY5" fmla="*/ 0 h 6857907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5505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7554"/>
              <a:gd name="connsiteX1" fmla="*/ 8993100 w 8993100"/>
              <a:gd name="connsiteY1" fmla="*/ 6186 h 6867554"/>
              <a:gd name="connsiteX2" fmla="*/ 3388908 w 8993100"/>
              <a:gd name="connsiteY2" fmla="*/ 6862669 h 6867554"/>
              <a:gd name="connsiteX3" fmla="*/ 5505 w 8993100"/>
              <a:gd name="connsiteY3" fmla="*/ 6867554 h 6867554"/>
              <a:gd name="connsiteX4" fmla="*/ 0 w 8993100"/>
              <a:gd name="connsiteY4" fmla="*/ 5129270 h 6867554"/>
              <a:gd name="connsiteX5" fmla="*/ 2083733 w 8993100"/>
              <a:gd name="connsiteY5" fmla="*/ 0 h 6867554"/>
              <a:gd name="connsiteX0" fmla="*/ 2083733 w 8791676"/>
              <a:gd name="connsiteY0" fmla="*/ 0 h 6867554"/>
              <a:gd name="connsiteX1" fmla="*/ 8791676 w 8791676"/>
              <a:gd name="connsiteY1" fmla="*/ 22172 h 6867554"/>
              <a:gd name="connsiteX2" fmla="*/ 3388908 w 8791676"/>
              <a:gd name="connsiteY2" fmla="*/ 6862669 h 6867554"/>
              <a:gd name="connsiteX3" fmla="*/ 5505 w 8791676"/>
              <a:gd name="connsiteY3" fmla="*/ 6867554 h 6867554"/>
              <a:gd name="connsiteX4" fmla="*/ 0 w 8791676"/>
              <a:gd name="connsiteY4" fmla="*/ 5129270 h 6867554"/>
              <a:gd name="connsiteX5" fmla="*/ 2083733 w 8791676"/>
              <a:gd name="connsiteY5" fmla="*/ 0 h 6867554"/>
              <a:gd name="connsiteX0" fmla="*/ 2083733 w 8948339"/>
              <a:gd name="connsiteY0" fmla="*/ 208 h 6867762"/>
              <a:gd name="connsiteX1" fmla="*/ 8948339 w 8948339"/>
              <a:gd name="connsiteY1" fmla="*/ 0 h 6867762"/>
              <a:gd name="connsiteX2" fmla="*/ 3388908 w 8948339"/>
              <a:gd name="connsiteY2" fmla="*/ 6862877 h 6867762"/>
              <a:gd name="connsiteX3" fmla="*/ 5505 w 8948339"/>
              <a:gd name="connsiteY3" fmla="*/ 6867762 h 6867762"/>
              <a:gd name="connsiteX4" fmla="*/ 0 w 8948339"/>
              <a:gd name="connsiteY4" fmla="*/ 5129478 h 6867762"/>
              <a:gd name="connsiteX5" fmla="*/ 2083733 w 8948339"/>
              <a:gd name="connsiteY5" fmla="*/ 208 h 686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48339" h="6867762">
                <a:moveTo>
                  <a:pt x="2083733" y="208"/>
                </a:moveTo>
                <a:lnTo>
                  <a:pt x="8948339" y="0"/>
                </a:lnTo>
                <a:lnTo>
                  <a:pt x="3388908" y="6862877"/>
                </a:lnTo>
                <a:lnTo>
                  <a:pt x="5505" y="6867762"/>
                </a:lnTo>
                <a:cubicBezTo>
                  <a:pt x="5505" y="6488575"/>
                  <a:pt x="0" y="5508665"/>
                  <a:pt x="0" y="5129478"/>
                </a:cubicBezTo>
                <a:lnTo>
                  <a:pt x="2083733" y="208"/>
                </a:lnTo>
                <a:close/>
              </a:path>
            </a:pathLst>
          </a:cu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866737" y="3588760"/>
            <a:ext cx="6604000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1866741" y="3692359"/>
            <a:ext cx="5576799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sz="1600" dirty="0"/>
              <a:t>Click to edit SUB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1866741" y="3059451"/>
            <a:ext cx="6154313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9976" y="6197565"/>
            <a:ext cx="2658995" cy="343835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1866737" y="4200993"/>
            <a:ext cx="4267200" cy="347472"/>
          </a:xfrm>
        </p:spPr>
        <p:txBody>
          <a:bodyPr anchor="ctr"/>
          <a:lstStyle>
            <a:lvl1pPr marL="0" indent="0">
              <a:buNone/>
              <a:defRPr sz="16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Dat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1866737" y="4889321"/>
            <a:ext cx="4267200" cy="347472"/>
          </a:xfrm>
        </p:spPr>
        <p:txBody>
          <a:bodyPr anchor="ctr"/>
          <a:lstStyle>
            <a:lvl1pPr marL="0" indent="0">
              <a:buNone/>
              <a:defRPr sz="105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vigant Reference No:</a:t>
            </a:r>
          </a:p>
        </p:txBody>
      </p:sp>
      <p:sp>
        <p:nvSpPr>
          <p:cNvPr id="15" name="Freeform 14"/>
          <p:cNvSpPr/>
          <p:nvPr userDrawn="1"/>
        </p:nvSpPr>
        <p:spPr>
          <a:xfrm>
            <a:off x="-8596" y="-3908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60270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48" y="1"/>
            <a:ext cx="9137741" cy="1011420"/>
          </a:xfrm>
          <a:prstGeom prst="rect">
            <a:avLst/>
          </a:prstGeom>
        </p:spPr>
        <p:txBody>
          <a:bodyPr anchor="b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226929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6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"/>
          <p:cNvSpPr>
            <a:spLocks noGrp="1"/>
          </p:cNvSpPr>
          <p:nvPr>
            <p:ph idx="1"/>
          </p:nvPr>
        </p:nvSpPr>
        <p:spPr bwMode="gray">
          <a:xfrm>
            <a:off x="287453" y="1341114"/>
            <a:ext cx="116256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9" name="Title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6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50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29805487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"/>
          <p:cNvSpPr>
            <a:spLocks noGrp="1"/>
          </p:cNvSpPr>
          <p:nvPr>
            <p:ph idx="1"/>
          </p:nvPr>
        </p:nvSpPr>
        <p:spPr bwMode="gray">
          <a:xfrm>
            <a:off x="287453" y="1944002"/>
            <a:ext cx="11625600" cy="422515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4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4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8" name="Heading 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87453" y="1341117"/>
            <a:ext cx="11625600" cy="43088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4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4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4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4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6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50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341513333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9" y="3"/>
            <a:ext cx="6095999" cy="68571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19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8947054" y="858420"/>
            <a:ext cx="2963436" cy="4842504"/>
          </a:xfrm>
          <a:prstGeom prst="rect">
            <a:avLst/>
          </a:prstGeom>
        </p:spPr>
        <p:txBody>
          <a:bodyPr vert="horz" lIns="0" rIns="0" bIns="0" anchor="ctr"/>
          <a:lstStyle>
            <a:lvl1pPr marL="0" indent="0">
              <a:buFontTx/>
              <a:buNone/>
              <a:defRPr sz="2000" cap="all" baseline="0">
                <a:solidFill>
                  <a:srgbClr val="555759"/>
                </a:solidFill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ection #:</a:t>
            </a:r>
          </a:p>
          <a:p>
            <a:pPr lvl="0"/>
            <a:r>
              <a:rPr lang="en-US" dirty="0"/>
              <a:t>Click to add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1" y="6400190"/>
            <a:ext cx="1303209" cy="168518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1" y="868"/>
            <a:ext cx="6096000" cy="6857135"/>
          </a:xfrm>
          <a:prstGeom prst="rect">
            <a:avLst/>
          </a:pr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2527" y="858420"/>
            <a:ext cx="5246949" cy="4842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978659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Right"/>
          <p:cNvSpPr>
            <a:spLocks noGrp="1"/>
          </p:cNvSpPr>
          <p:nvPr>
            <p:ph idx="11"/>
          </p:nvPr>
        </p:nvSpPr>
        <p:spPr bwMode="gray">
          <a:xfrm>
            <a:off x="6393053" y="1341114"/>
            <a:ext cx="552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5" name="Content Left"/>
          <p:cNvSpPr>
            <a:spLocks noGrp="1"/>
          </p:cNvSpPr>
          <p:nvPr>
            <p:ph idx="1"/>
          </p:nvPr>
        </p:nvSpPr>
        <p:spPr bwMode="gray">
          <a:xfrm>
            <a:off x="287455" y="1341114"/>
            <a:ext cx="552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8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50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82494579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Right"/>
          <p:cNvSpPr>
            <a:spLocks noGrp="1"/>
          </p:cNvSpPr>
          <p:nvPr>
            <p:ph idx="11"/>
          </p:nvPr>
        </p:nvSpPr>
        <p:spPr bwMode="gray">
          <a:xfrm>
            <a:off x="6393053" y="1882448"/>
            <a:ext cx="552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5" name="Content Left"/>
          <p:cNvSpPr>
            <a:spLocks noGrp="1"/>
          </p:cNvSpPr>
          <p:nvPr>
            <p:ph idx="1"/>
          </p:nvPr>
        </p:nvSpPr>
        <p:spPr bwMode="gray">
          <a:xfrm>
            <a:off x="287451" y="1882448"/>
            <a:ext cx="552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4" name="Heading Right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393053" y="1341114"/>
            <a:ext cx="5520000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3" name="Heading Left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87455" y="1341114"/>
            <a:ext cx="5520000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50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78997857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Right Bottom"/>
          <p:cNvSpPr>
            <a:spLocks noGrp="1"/>
          </p:cNvSpPr>
          <p:nvPr>
            <p:ph idx="27"/>
          </p:nvPr>
        </p:nvSpPr>
        <p:spPr bwMode="gray">
          <a:xfrm>
            <a:off x="6393053" y="3842318"/>
            <a:ext cx="5520000" cy="232684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4" name="Content Left Bottom"/>
          <p:cNvSpPr>
            <a:spLocks noGrp="1"/>
          </p:cNvSpPr>
          <p:nvPr>
            <p:ph idx="28"/>
          </p:nvPr>
        </p:nvSpPr>
        <p:spPr bwMode="gray">
          <a:xfrm>
            <a:off x="287455" y="3842318"/>
            <a:ext cx="5520000" cy="232684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8" name="Content Right Top"/>
          <p:cNvSpPr>
            <a:spLocks noGrp="1"/>
          </p:cNvSpPr>
          <p:nvPr>
            <p:ph idx="26"/>
          </p:nvPr>
        </p:nvSpPr>
        <p:spPr bwMode="gray">
          <a:xfrm>
            <a:off x="6393053" y="1341114"/>
            <a:ext cx="5520000" cy="23256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9" name="Content Left Top"/>
          <p:cNvSpPr>
            <a:spLocks noGrp="1"/>
          </p:cNvSpPr>
          <p:nvPr>
            <p:ph idx="1"/>
          </p:nvPr>
        </p:nvSpPr>
        <p:spPr bwMode="gray">
          <a:xfrm>
            <a:off x="287455" y="1341114"/>
            <a:ext cx="5520000" cy="232560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0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11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50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60302177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Right Top"/>
          <p:cNvSpPr>
            <a:spLocks noGrp="1"/>
          </p:cNvSpPr>
          <p:nvPr>
            <p:ph idx="29"/>
          </p:nvPr>
        </p:nvSpPr>
        <p:spPr bwMode="gray">
          <a:xfrm>
            <a:off x="6393053" y="1814188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9" name="Content Left Top"/>
          <p:cNvSpPr>
            <a:spLocks noGrp="1"/>
          </p:cNvSpPr>
          <p:nvPr>
            <p:ph idx="1"/>
          </p:nvPr>
        </p:nvSpPr>
        <p:spPr bwMode="gray">
          <a:xfrm>
            <a:off x="287455" y="1814188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1" name="Heading Right Top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393053" y="1341117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0" name="Heading Left Top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87455" y="1341117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4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15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50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  <p:sp>
        <p:nvSpPr>
          <p:cNvPr id="21" name="Content Right Top"/>
          <p:cNvSpPr>
            <a:spLocks noGrp="1"/>
          </p:cNvSpPr>
          <p:nvPr>
            <p:ph idx="34"/>
          </p:nvPr>
        </p:nvSpPr>
        <p:spPr bwMode="gray">
          <a:xfrm>
            <a:off x="6393053" y="4316632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22" name="Content Left Top"/>
          <p:cNvSpPr>
            <a:spLocks noGrp="1"/>
          </p:cNvSpPr>
          <p:nvPr>
            <p:ph idx="35"/>
          </p:nvPr>
        </p:nvSpPr>
        <p:spPr bwMode="gray">
          <a:xfrm>
            <a:off x="287455" y="4316632"/>
            <a:ext cx="5520000" cy="185252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en-US" altLang="ja-JP" sz="1000" smtClean="0">
                <a:latin typeface="+mn-lt"/>
                <a:ea typeface="+mn-ea"/>
                <a:sym typeface="+mn-lt"/>
              </a:defRPr>
            </a:lvl1pPr>
            <a:lvl2pPr>
              <a:defRPr lang="en-US" altLang="ja-JP" sz="10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1000" smtClean="0">
                <a:latin typeface="+mn-lt"/>
                <a:ea typeface="+mn-ea"/>
                <a:sym typeface="+mn-lt"/>
              </a:defRPr>
            </a:lvl3pPr>
            <a:lvl4pPr>
              <a:defRPr lang="en-US" altLang="ja-JP" sz="1000" smtClean="0">
                <a:latin typeface="+mn-lt"/>
                <a:ea typeface="+mn-ea"/>
                <a:sym typeface="+mn-lt"/>
              </a:defRPr>
            </a:lvl4pPr>
            <a:lvl5pPr>
              <a:defRPr lang="en-GB" sz="1000" dirty="0" smtClean="0">
                <a:latin typeface="+mn-lt"/>
                <a:ea typeface="+mn-ea"/>
                <a:sym typeface="+mn-lt"/>
              </a:defRPr>
            </a:lvl5pPr>
          </a:lstStyle>
          <a:p>
            <a:pPr lvl="0">
              <a:lnSpc>
                <a:spcPct val="100000"/>
              </a:lnSpc>
            </a:pPr>
            <a:r>
              <a:rPr lang="en-US" altLang="ja-JP"/>
              <a:t>Click to edit Master text styles</a:t>
            </a:r>
          </a:p>
          <a:p>
            <a:pPr lvl="1">
              <a:lnSpc>
                <a:spcPct val="100000"/>
              </a:lnSpc>
            </a:pPr>
            <a:r>
              <a:rPr lang="en-US" altLang="ja-JP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/>
              <a:t>Third level</a:t>
            </a:r>
          </a:p>
          <a:p>
            <a:pPr lvl="3">
              <a:lnSpc>
                <a:spcPct val="100000"/>
              </a:lnSpc>
            </a:pPr>
            <a:r>
              <a:rPr lang="en-US" altLang="ja-JP"/>
              <a:t>Fourth level</a:t>
            </a:r>
          </a:p>
          <a:p>
            <a:pPr lvl="4">
              <a:lnSpc>
                <a:spcPct val="100000"/>
              </a:lnSpc>
            </a:pPr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23" name="Heading Right Top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6393053" y="3843558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4" name="Heading Left Top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87455" y="3843558"/>
            <a:ext cx="5520000" cy="307777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0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243077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Right"/>
          <p:cNvSpPr>
            <a:spLocks noGrp="1"/>
          </p:cNvSpPr>
          <p:nvPr>
            <p:ph idx="27"/>
          </p:nvPr>
        </p:nvSpPr>
        <p:spPr bwMode="gray">
          <a:xfrm>
            <a:off x="8313053" y="1341114"/>
            <a:ext cx="360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4" name="Content Middle"/>
          <p:cNvSpPr>
            <a:spLocks noGrp="1"/>
          </p:cNvSpPr>
          <p:nvPr>
            <p:ph idx="26"/>
          </p:nvPr>
        </p:nvSpPr>
        <p:spPr bwMode="gray">
          <a:xfrm>
            <a:off x="4300252" y="1341114"/>
            <a:ext cx="360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3" name="Content Left"/>
          <p:cNvSpPr>
            <a:spLocks noGrp="1"/>
          </p:cNvSpPr>
          <p:nvPr>
            <p:ph idx="25"/>
          </p:nvPr>
        </p:nvSpPr>
        <p:spPr bwMode="gray">
          <a:xfrm>
            <a:off x="287452" y="1341114"/>
            <a:ext cx="3600000" cy="482804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7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6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50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79634896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Right"/>
          <p:cNvSpPr>
            <a:spLocks noGrp="1"/>
          </p:cNvSpPr>
          <p:nvPr>
            <p:ph idx="27"/>
          </p:nvPr>
        </p:nvSpPr>
        <p:spPr bwMode="gray">
          <a:xfrm>
            <a:off x="8313053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7" name="Content Middle"/>
          <p:cNvSpPr>
            <a:spLocks noGrp="1"/>
          </p:cNvSpPr>
          <p:nvPr>
            <p:ph idx="26"/>
          </p:nvPr>
        </p:nvSpPr>
        <p:spPr bwMode="gray">
          <a:xfrm>
            <a:off x="4300252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6" name="Content Left"/>
          <p:cNvSpPr>
            <a:spLocks noGrp="1"/>
          </p:cNvSpPr>
          <p:nvPr>
            <p:ph idx="25"/>
          </p:nvPr>
        </p:nvSpPr>
        <p:spPr bwMode="gray">
          <a:xfrm>
            <a:off x="287452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21" name="Heading Right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8313053" y="1337514"/>
            <a:ext cx="3600000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Heading Middl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00253" y="1337514"/>
            <a:ext cx="3600000" cy="369332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0" name="Heading Left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87453" y="1337514"/>
            <a:ext cx="3600000" cy="369332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0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9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50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21599269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2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Right"/>
          <p:cNvSpPr>
            <a:spLocks noGrp="1"/>
          </p:cNvSpPr>
          <p:nvPr>
            <p:ph idx="28"/>
          </p:nvPr>
        </p:nvSpPr>
        <p:spPr bwMode="gray">
          <a:xfrm>
            <a:off x="8313053" y="1882448"/>
            <a:ext cx="3600000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9" name="Heading Right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8313053" y="1337514"/>
            <a:ext cx="3600000" cy="369332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1000">
                <a:solidFill>
                  <a:schemeClr val="accent2"/>
                </a:solidFill>
              </a:defRPr>
            </a:lvl3pPr>
            <a:lvl4pPr>
              <a:defRPr sz="1000">
                <a:solidFill>
                  <a:schemeClr val="accent2"/>
                </a:solidFill>
              </a:defRPr>
            </a:lvl4pPr>
            <a:lvl5pPr>
              <a:defRPr sz="10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8" name="Title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12" name="Content Middle"/>
          <p:cNvSpPr>
            <a:spLocks noGrp="1"/>
          </p:cNvSpPr>
          <p:nvPr>
            <p:ph idx="26"/>
          </p:nvPr>
        </p:nvSpPr>
        <p:spPr bwMode="gray">
          <a:xfrm>
            <a:off x="287455" y="1882448"/>
            <a:ext cx="7612799" cy="42867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12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1200"/>
            </a:lvl6pPr>
            <a:lvl7pPr fontAlgn="base">
              <a:lnSpc>
                <a:spcPct val="100000"/>
              </a:lnSpc>
              <a:spcAft>
                <a:spcPts val="0"/>
              </a:spcAft>
              <a:defRPr sz="1200"/>
            </a:lvl7pPr>
            <a:lvl8pPr fontAlgn="base">
              <a:lnSpc>
                <a:spcPct val="100000"/>
              </a:lnSpc>
              <a:spcAft>
                <a:spcPts val="0"/>
              </a:spcAft>
              <a:defRPr sz="1200"/>
            </a:lvl8pPr>
            <a:lvl9pPr fontAlgn="base">
              <a:lnSpc>
                <a:spcPct val="100000"/>
              </a:lnSpc>
              <a:spcAft>
                <a:spcPts val="0"/>
              </a:spcAft>
              <a:defRPr sz="1200"/>
            </a:lvl9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sp>
        <p:nvSpPr>
          <p:cNvPr id="13" name="Heading Middl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87457" y="1337514"/>
            <a:ext cx="7612799" cy="369332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Heading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ubheading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7" name="Content"/>
          <p:cNvSpPr>
            <a:spLocks noGrp="1"/>
          </p:cNvSpPr>
          <p:nvPr>
            <p:ph idx="10" hasCustomPrompt="1"/>
          </p:nvPr>
        </p:nvSpPr>
        <p:spPr bwMode="gray">
          <a:xfrm>
            <a:off x="287453" y="6046050"/>
            <a:ext cx="11625600" cy="12311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8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29493227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slideLayout" Target="../slideLayouts/slideLayout18.xml"/><Relationship Id="rId18" Type="http://schemas.openxmlformats.org/officeDocument/2006/relationships/slideLayout" Target="../slideLayouts/slideLayout23.xml"/><Relationship Id="rId3" Type="http://schemas.openxmlformats.org/officeDocument/2006/relationships/slideLayout" Target="../slideLayouts/slideLayout8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17" Type="http://schemas.openxmlformats.org/officeDocument/2006/relationships/slideLayout" Target="../slideLayouts/slideLayout22.xml"/><Relationship Id="rId2" Type="http://schemas.openxmlformats.org/officeDocument/2006/relationships/slideLayout" Target="../slideLayouts/slideLayout7.xml"/><Relationship Id="rId16" Type="http://schemas.openxmlformats.org/officeDocument/2006/relationships/slideLayout" Target="../slideLayouts/slideLayout21.xml"/><Relationship Id="rId20" Type="http://schemas.openxmlformats.org/officeDocument/2006/relationships/vmlDrawing" Target="../drawings/vmlDrawing2.v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24" Type="http://schemas.openxmlformats.org/officeDocument/2006/relationships/image" Target="../media/image6.jpeg"/><Relationship Id="rId5" Type="http://schemas.openxmlformats.org/officeDocument/2006/relationships/slideLayout" Target="../slideLayouts/slideLayout10.xml"/><Relationship Id="rId15" Type="http://schemas.openxmlformats.org/officeDocument/2006/relationships/slideLayout" Target="../slideLayouts/slideLayout20.xml"/><Relationship Id="rId23" Type="http://schemas.openxmlformats.org/officeDocument/2006/relationships/image" Target="../media/image5.emf"/><Relationship Id="rId10" Type="http://schemas.openxmlformats.org/officeDocument/2006/relationships/slideLayout" Target="../slideLayouts/slideLayout15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slideLayout" Target="../slideLayouts/slideLayout19.xml"/><Relationship Id="rId22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slideLayout" Target="../slideLayouts/slideLayout49.xml"/><Relationship Id="rId3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44.xml"/><Relationship Id="rId34" Type="http://schemas.openxmlformats.org/officeDocument/2006/relationships/tags" Target="../tags/tag8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slideLayout" Target="../slideLayouts/slideLayout48.xml"/><Relationship Id="rId33" Type="http://schemas.openxmlformats.org/officeDocument/2006/relationships/tags" Target="../tags/tag7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29" Type="http://schemas.openxmlformats.org/officeDocument/2006/relationships/slideLayout" Target="../slideLayouts/slideLayout52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slideLayout" Target="../slideLayouts/slideLayout47.xml"/><Relationship Id="rId32" Type="http://schemas.openxmlformats.org/officeDocument/2006/relationships/vmlDrawing" Target="../drawings/vmlDrawing5.v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slideLayout" Target="../slideLayouts/slideLayout46.xml"/><Relationship Id="rId28" Type="http://schemas.openxmlformats.org/officeDocument/2006/relationships/slideLayout" Target="../slideLayouts/slideLayout51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31" Type="http://schemas.openxmlformats.org/officeDocument/2006/relationships/theme" Target="../theme/theme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Relationship Id="rId27" Type="http://schemas.openxmlformats.org/officeDocument/2006/relationships/slideLayout" Target="../slideLayouts/slideLayout50.xml"/><Relationship Id="rId30" Type="http://schemas.openxmlformats.org/officeDocument/2006/relationships/slideLayout" Target="../slideLayouts/slideLayout53.xml"/><Relationship Id="rId35" Type="http://schemas.openxmlformats.org/officeDocument/2006/relationships/oleObject" Target="../embeddings/oleObject5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slideLayout" Target="../slideLayouts/slideLayout66.xml"/><Relationship Id="rId18" Type="http://schemas.openxmlformats.org/officeDocument/2006/relationships/tags" Target="../tags/tag10.xml"/><Relationship Id="rId3" Type="http://schemas.openxmlformats.org/officeDocument/2006/relationships/slideLayout" Target="../slideLayouts/slideLayout56.xml"/><Relationship Id="rId21" Type="http://schemas.openxmlformats.org/officeDocument/2006/relationships/oleObject" Target="../embeddings/oleObject6.bin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17" Type="http://schemas.openxmlformats.org/officeDocument/2006/relationships/tags" Target="../tags/tag9.xml"/><Relationship Id="rId2" Type="http://schemas.openxmlformats.org/officeDocument/2006/relationships/slideLayout" Target="../slideLayouts/slideLayout55.xml"/><Relationship Id="rId16" Type="http://schemas.openxmlformats.org/officeDocument/2006/relationships/vmlDrawing" Target="../drawings/vmlDrawing6.vml"/><Relationship Id="rId20" Type="http://schemas.openxmlformats.org/officeDocument/2006/relationships/tags" Target="../tags/tag12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5" Type="http://schemas.openxmlformats.org/officeDocument/2006/relationships/slideLayout" Target="../slideLayouts/slideLayout58.xml"/><Relationship Id="rId15" Type="http://schemas.openxmlformats.org/officeDocument/2006/relationships/theme" Target="../theme/theme4.xml"/><Relationship Id="rId23" Type="http://schemas.openxmlformats.org/officeDocument/2006/relationships/image" Target="../media/image11.png"/><Relationship Id="rId10" Type="http://schemas.openxmlformats.org/officeDocument/2006/relationships/slideLayout" Target="../slideLayouts/slideLayout63.xml"/><Relationship Id="rId19" Type="http://schemas.openxmlformats.org/officeDocument/2006/relationships/tags" Target="../tags/tag11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slideLayout" Target="../slideLayouts/slideLayout67.xml"/><Relationship Id="rId22" Type="http://schemas.openxmlformats.org/officeDocument/2006/relationships/image" Target="../media/image10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slideLayout" Target="../slideLayouts/slideLayout80.xml"/><Relationship Id="rId18" Type="http://schemas.openxmlformats.org/officeDocument/2006/relationships/tags" Target="../tags/tag26.xml"/><Relationship Id="rId3" Type="http://schemas.openxmlformats.org/officeDocument/2006/relationships/slideLayout" Target="../slideLayouts/slideLayout70.xml"/><Relationship Id="rId21" Type="http://schemas.openxmlformats.org/officeDocument/2006/relationships/oleObject" Target="../embeddings/oleObject10.bin"/><Relationship Id="rId7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79.xml"/><Relationship Id="rId17" Type="http://schemas.openxmlformats.org/officeDocument/2006/relationships/tags" Target="../tags/tag25.xml"/><Relationship Id="rId2" Type="http://schemas.openxmlformats.org/officeDocument/2006/relationships/slideLayout" Target="../slideLayouts/slideLayout69.xml"/><Relationship Id="rId16" Type="http://schemas.openxmlformats.org/officeDocument/2006/relationships/vmlDrawing" Target="../drawings/vmlDrawing10.vml"/><Relationship Id="rId20" Type="http://schemas.openxmlformats.org/officeDocument/2006/relationships/tags" Target="../tags/tag28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5" Type="http://schemas.openxmlformats.org/officeDocument/2006/relationships/slideLayout" Target="../slideLayouts/slideLayout72.xml"/><Relationship Id="rId15" Type="http://schemas.openxmlformats.org/officeDocument/2006/relationships/theme" Target="../theme/theme5.xml"/><Relationship Id="rId23" Type="http://schemas.openxmlformats.org/officeDocument/2006/relationships/image" Target="../media/image11.png"/><Relationship Id="rId10" Type="http://schemas.openxmlformats.org/officeDocument/2006/relationships/slideLayout" Target="../slideLayouts/slideLayout77.xml"/><Relationship Id="rId19" Type="http://schemas.openxmlformats.org/officeDocument/2006/relationships/tags" Target="../tags/tag27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Relationship Id="rId14" Type="http://schemas.openxmlformats.org/officeDocument/2006/relationships/slideLayout" Target="../slideLayouts/slideLayout81.xml"/><Relationship Id="rId22" Type="http://schemas.openxmlformats.org/officeDocument/2006/relationships/image" Target="../media/image10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3" Type="http://schemas.openxmlformats.org/officeDocument/2006/relationships/slideLayout" Target="../slideLayouts/slideLayout84.xml"/><Relationship Id="rId7" Type="http://schemas.openxmlformats.org/officeDocument/2006/relationships/oleObject" Target="../embeddings/oleObject14.bin"/><Relationship Id="rId2" Type="http://schemas.openxmlformats.org/officeDocument/2006/relationships/slideLayout" Target="../slideLayouts/slideLayout83.xml"/><Relationship Id="rId1" Type="http://schemas.openxmlformats.org/officeDocument/2006/relationships/slideLayout" Target="../slideLayouts/slideLayout82.xml"/><Relationship Id="rId6" Type="http://schemas.openxmlformats.org/officeDocument/2006/relationships/tags" Target="../tags/tag41.xml"/><Relationship Id="rId5" Type="http://schemas.openxmlformats.org/officeDocument/2006/relationships/vmlDrawing" Target="../drawings/vmlDrawing14.vml"/><Relationship Id="rId4" Type="http://schemas.openxmlformats.org/officeDocument/2006/relationships/theme" Target="../theme/theme6.xml"/><Relationship Id="rId9" Type="http://schemas.openxmlformats.org/officeDocument/2006/relationships/image" Target="../media/image17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slideLayout" Target="../slideLayouts/slideLayout87.xml"/><Relationship Id="rId7" Type="http://schemas.openxmlformats.org/officeDocument/2006/relationships/tags" Target="../tags/tag42.xml"/><Relationship Id="rId2" Type="http://schemas.openxmlformats.org/officeDocument/2006/relationships/slideLayout" Target="../slideLayouts/slideLayout86.xml"/><Relationship Id="rId1" Type="http://schemas.openxmlformats.org/officeDocument/2006/relationships/slideLayout" Target="../slideLayouts/slideLayout85.xml"/><Relationship Id="rId6" Type="http://schemas.openxmlformats.org/officeDocument/2006/relationships/vmlDrawing" Target="../drawings/vmlDrawing15.vml"/><Relationship Id="rId5" Type="http://schemas.openxmlformats.org/officeDocument/2006/relationships/theme" Target="../theme/theme7.xml"/><Relationship Id="rId10" Type="http://schemas.openxmlformats.org/officeDocument/2006/relationships/image" Target="../media/image17.png"/><Relationship Id="rId4" Type="http://schemas.openxmlformats.org/officeDocument/2006/relationships/slideLayout" Target="../slideLayouts/slideLayout88.xml"/><Relationship Id="rId9" Type="http://schemas.openxmlformats.org/officeDocument/2006/relationships/image" Target="../media/image16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13" Type="http://schemas.openxmlformats.org/officeDocument/2006/relationships/slideLayout" Target="../slideLayouts/slideLayout101.xml"/><Relationship Id="rId18" Type="http://schemas.openxmlformats.org/officeDocument/2006/relationships/tags" Target="../tags/tag45.xml"/><Relationship Id="rId3" Type="http://schemas.openxmlformats.org/officeDocument/2006/relationships/slideLayout" Target="../slideLayouts/slideLayout91.xml"/><Relationship Id="rId21" Type="http://schemas.openxmlformats.org/officeDocument/2006/relationships/oleObject" Target="../embeddings/oleObject17.bin"/><Relationship Id="rId7" Type="http://schemas.openxmlformats.org/officeDocument/2006/relationships/slideLayout" Target="../slideLayouts/slideLayout95.xml"/><Relationship Id="rId12" Type="http://schemas.openxmlformats.org/officeDocument/2006/relationships/slideLayout" Target="../slideLayouts/slideLayout100.xml"/><Relationship Id="rId17" Type="http://schemas.openxmlformats.org/officeDocument/2006/relationships/tags" Target="../tags/tag44.xml"/><Relationship Id="rId2" Type="http://schemas.openxmlformats.org/officeDocument/2006/relationships/slideLayout" Target="../slideLayouts/slideLayout90.xml"/><Relationship Id="rId16" Type="http://schemas.openxmlformats.org/officeDocument/2006/relationships/vmlDrawing" Target="../drawings/vmlDrawing17.vml"/><Relationship Id="rId20" Type="http://schemas.openxmlformats.org/officeDocument/2006/relationships/tags" Target="../tags/tag47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slideLayout" Target="../slideLayouts/slideLayout99.xml"/><Relationship Id="rId5" Type="http://schemas.openxmlformats.org/officeDocument/2006/relationships/slideLayout" Target="../slideLayouts/slideLayout93.xml"/><Relationship Id="rId15" Type="http://schemas.openxmlformats.org/officeDocument/2006/relationships/theme" Target="../theme/theme8.xml"/><Relationship Id="rId23" Type="http://schemas.openxmlformats.org/officeDocument/2006/relationships/image" Target="../media/image11.png"/><Relationship Id="rId10" Type="http://schemas.openxmlformats.org/officeDocument/2006/relationships/slideLayout" Target="../slideLayouts/slideLayout98.xml"/><Relationship Id="rId19" Type="http://schemas.openxmlformats.org/officeDocument/2006/relationships/tags" Target="../tags/tag46.xml"/><Relationship Id="rId4" Type="http://schemas.openxmlformats.org/officeDocument/2006/relationships/slideLayout" Target="../slideLayouts/slideLayout92.xml"/><Relationship Id="rId9" Type="http://schemas.openxmlformats.org/officeDocument/2006/relationships/slideLayout" Target="../slideLayouts/slideLayout97.xml"/><Relationship Id="rId14" Type="http://schemas.openxmlformats.org/officeDocument/2006/relationships/slideLayout" Target="../slideLayouts/slideLayout102.xml"/><Relationship Id="rId22" Type="http://schemas.openxmlformats.org/officeDocument/2006/relationships/image" Target="../media/image10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13" Type="http://schemas.openxmlformats.org/officeDocument/2006/relationships/slideLayout" Target="../slideLayouts/slideLayout115.xml"/><Relationship Id="rId18" Type="http://schemas.openxmlformats.org/officeDocument/2006/relationships/tags" Target="../tags/tag61.xml"/><Relationship Id="rId3" Type="http://schemas.openxmlformats.org/officeDocument/2006/relationships/slideLayout" Target="../slideLayouts/slideLayout105.xml"/><Relationship Id="rId21" Type="http://schemas.openxmlformats.org/officeDocument/2006/relationships/oleObject" Target="../embeddings/oleObject21.bin"/><Relationship Id="rId7" Type="http://schemas.openxmlformats.org/officeDocument/2006/relationships/slideLayout" Target="../slideLayouts/slideLayout109.xml"/><Relationship Id="rId12" Type="http://schemas.openxmlformats.org/officeDocument/2006/relationships/slideLayout" Target="../slideLayouts/slideLayout114.xml"/><Relationship Id="rId17" Type="http://schemas.openxmlformats.org/officeDocument/2006/relationships/tags" Target="../tags/tag60.xml"/><Relationship Id="rId2" Type="http://schemas.openxmlformats.org/officeDocument/2006/relationships/slideLayout" Target="../slideLayouts/slideLayout104.xml"/><Relationship Id="rId16" Type="http://schemas.openxmlformats.org/officeDocument/2006/relationships/vmlDrawing" Target="../drawings/vmlDrawing21.vml"/><Relationship Id="rId20" Type="http://schemas.openxmlformats.org/officeDocument/2006/relationships/tags" Target="../tags/tag63.x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113.xml"/><Relationship Id="rId5" Type="http://schemas.openxmlformats.org/officeDocument/2006/relationships/slideLayout" Target="../slideLayouts/slideLayout107.xml"/><Relationship Id="rId15" Type="http://schemas.openxmlformats.org/officeDocument/2006/relationships/theme" Target="../theme/theme9.xml"/><Relationship Id="rId23" Type="http://schemas.openxmlformats.org/officeDocument/2006/relationships/image" Target="../media/image11.png"/><Relationship Id="rId10" Type="http://schemas.openxmlformats.org/officeDocument/2006/relationships/slideLayout" Target="../slideLayouts/slideLayout112.xml"/><Relationship Id="rId19" Type="http://schemas.openxmlformats.org/officeDocument/2006/relationships/tags" Target="../tags/tag62.xml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Relationship Id="rId14" Type="http://schemas.openxmlformats.org/officeDocument/2006/relationships/slideLayout" Target="../slideLayouts/slideLayout116.xml"/><Relationship Id="rId22" Type="http://schemas.openxmlformats.org/officeDocument/2006/relationships/image" Target="../media/image10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208D31F7-7CED-498A-A0F7-4B9FE39493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810772650"/>
              </p:ext>
            </p:extLst>
          </p:nvPr>
        </p:nvGraphicFramePr>
        <p:xfrm>
          <a:off x="2119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8"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353D8B02-93AD-4438-B853-C8A3B4AE4328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1" y="0"/>
            <a:ext cx="211667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4805" y="457200"/>
            <a:ext cx="10363200" cy="9144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1600200"/>
            <a:ext cx="103632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30079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35C5B"/>
                </a:solidFill>
                <a:latin typeface="Gill Sans MT"/>
                <a:cs typeface="Gill Sans MT"/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530079"/>
            <a:ext cx="3860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35C5B"/>
                </a:solidFill>
                <a:latin typeface="Gill Sans MT"/>
                <a:cs typeface="Gill Sans MT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30079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35C5B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rame 6"/>
          <p:cNvSpPr/>
          <p:nvPr/>
        </p:nvSpPr>
        <p:spPr>
          <a:xfrm>
            <a:off x="0" y="0"/>
            <a:ext cx="12192000" cy="6858000"/>
          </a:xfrm>
          <a:prstGeom prst="frame">
            <a:avLst>
              <a:gd name="adj1" fmla="val 2222"/>
            </a:avLst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solidFill>
                <a:srgbClr val="FFFFFF"/>
              </a:solidFill>
              <a:latin typeface="Gill Sans MT"/>
              <a:cs typeface="Gill Sans MT"/>
            </a:endParaRPr>
          </a:p>
        </p:txBody>
      </p:sp>
    </p:spTree>
    <p:extLst>
      <p:ext uri="{BB962C8B-B14F-4D97-AF65-F5344CB8AC3E}">
        <p14:creationId xmlns:p14="http://schemas.microsoft.com/office/powerpoint/2010/main" val="8813334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74" r:id="rId2"/>
    <p:sldLayoutId id="2147483654" r:id="rId3"/>
    <p:sldLayoutId id="2147483708" r:id="rId4"/>
    <p:sldLayoutId id="2147483811" r:id="rId5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800" b="0" i="0" kern="1200">
          <a:solidFill>
            <a:srgbClr val="BA0C2F"/>
          </a:solidFill>
          <a:latin typeface="Gill Sans MT"/>
          <a:ea typeface="+mj-ea"/>
          <a:cs typeface="Gill Sans MT"/>
        </a:defRPr>
      </a:lvl1pPr>
    </p:titleStyle>
    <p:bodyStyle>
      <a:lvl1pPr marL="230188" indent="-230188" algn="l" defTabSz="457200" rtl="0" eaLnBrk="1" latinLnBrk="0" hangingPunct="1">
        <a:spcBef>
          <a:spcPts val="0"/>
        </a:spcBef>
        <a:spcAft>
          <a:spcPts val="1200"/>
        </a:spcAft>
        <a:buFont typeface="Arial"/>
        <a:buChar char="•"/>
        <a:defRPr sz="2000" b="0" i="0" kern="1200">
          <a:solidFill>
            <a:srgbClr val="635C5B"/>
          </a:solidFill>
          <a:latin typeface="Gill Sans MT"/>
          <a:ea typeface="+mn-ea"/>
          <a:cs typeface="Gill Sans MT"/>
        </a:defRPr>
      </a:lvl1pPr>
      <a:lvl2pPr marL="684213" indent="-230188" algn="l" defTabSz="457200" rtl="0" eaLnBrk="1" latinLnBrk="0" hangingPunct="1">
        <a:spcBef>
          <a:spcPts val="0"/>
        </a:spcBef>
        <a:spcAft>
          <a:spcPts val="1200"/>
        </a:spcAft>
        <a:buFont typeface="Arial"/>
        <a:buChar char="–"/>
        <a:defRPr sz="2000" b="0" i="0" kern="1200">
          <a:solidFill>
            <a:srgbClr val="635C5B"/>
          </a:solidFill>
          <a:latin typeface="Gill Sans MT"/>
          <a:ea typeface="+mn-ea"/>
          <a:cs typeface="Gill Sans MT"/>
        </a:defRPr>
      </a:lvl2pPr>
      <a:lvl3pPr marL="914400" indent="-230188" algn="l" defTabSz="457200" rtl="0" eaLnBrk="1" latinLnBrk="0" hangingPunct="1">
        <a:spcBef>
          <a:spcPct val="20000"/>
        </a:spcBef>
        <a:buFont typeface="Arial"/>
        <a:buChar char="•"/>
        <a:defRPr sz="1800" b="0" i="0" kern="1200">
          <a:solidFill>
            <a:srgbClr val="6C6463"/>
          </a:solidFill>
          <a:latin typeface="Gill Sans MT"/>
          <a:ea typeface="+mn-ea"/>
          <a:cs typeface="Gill Sans MT"/>
        </a:defRPr>
      </a:lvl3pPr>
      <a:lvl4pPr marL="1146175" indent="-231775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rgbClr val="6C6463"/>
          </a:solidFill>
          <a:latin typeface="Gill Sans MT"/>
          <a:ea typeface="+mn-ea"/>
          <a:cs typeface="Gill Sans MT"/>
        </a:defRPr>
      </a:lvl4pPr>
      <a:lvl5pPr marL="1255713" indent="-230188" algn="l" defTabSz="457200" rtl="0" eaLnBrk="1" latinLnBrk="0" hangingPunct="1">
        <a:spcBef>
          <a:spcPct val="20000"/>
        </a:spcBef>
        <a:buFont typeface="Arial"/>
        <a:buChar char="»"/>
        <a:defRPr sz="1400" b="0" i="0" kern="1200">
          <a:solidFill>
            <a:srgbClr val="6C6463"/>
          </a:solidFill>
          <a:latin typeface="Gill Sans MT"/>
          <a:ea typeface="+mn-ea"/>
          <a:cs typeface="Gill Sans MT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27418509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 Placeholder 18"/>
          <p:cNvSpPr txBox="1">
            <a:spLocks/>
          </p:cNvSpPr>
          <p:nvPr userDrawn="1"/>
        </p:nvSpPr>
        <p:spPr>
          <a:xfrm>
            <a:off x="412683" y="6370119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ECOFYS, A Navigant – A </a:t>
            </a:r>
            <a:r>
              <a:rPr lang="en-US" sz="900" kern="1200" cap="all" normalizeH="0" baseline="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Guidehouse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 Company Company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304804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18"/>
          <p:cNvSpPr txBox="1">
            <a:spLocks/>
          </p:cNvSpPr>
          <p:nvPr userDrawn="1"/>
        </p:nvSpPr>
        <p:spPr>
          <a:xfrm>
            <a:off x="182021" y="6365444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/>
          </a:p>
        </p:txBody>
      </p:sp>
      <p:sp>
        <p:nvSpPr>
          <p:cNvPr id="1037" name="Rectangle 14"/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2772748" y="1262358"/>
            <a:ext cx="9142163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4" name="Straight Connector 3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" name="Straight Connector 4"/>
          <p:cNvCxnSpPr/>
          <p:nvPr userDrawn="1"/>
        </p:nvCxnSpPr>
        <p:spPr bwMode="auto">
          <a:xfrm>
            <a:off x="2772748" y="1022438"/>
            <a:ext cx="9419253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Freeform 10"/>
          <p:cNvSpPr/>
          <p:nvPr userDrawn="1"/>
        </p:nvSpPr>
        <p:spPr>
          <a:xfrm>
            <a:off x="2" y="1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0" name="Picture 13" descr="Mission_Statement_RGB"/>
          <p:cNvPicPr>
            <a:picLocks noChangeAspect="1" noChangeArrowheads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1521" y="6418196"/>
            <a:ext cx="2726267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699185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815" r:id="rId3"/>
    <p:sldLayoutId id="2147483816" r:id="rId4"/>
    <p:sldLayoutId id="2147483817" r:id="rId5"/>
    <p:sldLayoutId id="2147483818" r:id="rId6"/>
    <p:sldLayoutId id="2147483819" r:id="rId7"/>
    <p:sldLayoutId id="2147483820" r:id="rId8"/>
    <p:sldLayoutId id="2147483821" r:id="rId9"/>
    <p:sldLayoutId id="2147483822" r:id="rId10"/>
    <p:sldLayoutId id="2147483823" r:id="rId11"/>
    <p:sldLayoutId id="2147483824" r:id="rId12"/>
    <p:sldLayoutId id="2147483825" r:id="rId13"/>
    <p:sldLayoutId id="2147483826" r:id="rId14"/>
    <p:sldLayoutId id="2147483827" r:id="rId15"/>
    <p:sldLayoutId id="2147483828" r:id="rId16"/>
    <p:sldLayoutId id="2147483829" r:id="rId17"/>
    <p:sldLayoutId id="2147483830" r:id="rId18"/>
  </p:sldLayoutIdLst>
  <p:hf sldNum="0" hdr="0" dt="0"/>
  <p:txStyles>
    <p:titleStyle>
      <a:lvl1pPr marL="0" indent="0" algn="l" rtl="0" eaLnBrk="1" fontAlgn="base" hangingPunct="1">
        <a:spcBef>
          <a:spcPct val="0"/>
        </a:spcBef>
        <a:spcAft>
          <a:spcPct val="0"/>
        </a:spcAft>
        <a:defRPr lang="en-US" sz="2200" b="0" kern="1200" cap="all" baseline="0" dirty="0">
          <a:solidFill>
            <a:schemeClr val="accent1"/>
          </a:solidFill>
          <a:effectLst/>
          <a:latin typeface="+mn-lt"/>
          <a:ea typeface="+mj-ea"/>
          <a:cs typeface="+mj-cs"/>
        </a:defRPr>
      </a:lvl1pPr>
      <a:lvl2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2pPr>
      <a:lvl3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3pPr>
      <a:lvl4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4pPr>
      <a:lvl5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5pPr>
      <a:lvl6pPr marL="10350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6pPr>
      <a:lvl7pPr marL="14922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7pPr>
      <a:lvl8pPr marL="19494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8pPr>
      <a:lvl9pPr marL="24066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9pPr>
    </p:titleStyle>
    <p:bodyStyle>
      <a:lvl1pPr marL="230188" indent="-2301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800" kern="1200" dirty="0">
          <a:solidFill>
            <a:schemeClr val="accent1"/>
          </a:solidFill>
          <a:latin typeface="+mj-lt"/>
          <a:ea typeface="+mn-ea"/>
          <a:cs typeface="+mn-cs"/>
        </a:defRPr>
      </a:lvl1pPr>
      <a:lvl2pPr marL="460375" indent="-22383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-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2pPr>
      <a:lvl3pPr marL="1027113" indent="-3444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3pPr>
      <a:lvl4pPr marL="1373188" indent="-3444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Palatino Linotype" pitchFamily="18" charset="0"/>
        <a:buChar char="◦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4pPr>
      <a:lvl5pPr marL="1717675" indent="-34290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Palatino Linotype" pitchFamily="18" charset="0"/>
        <a:buChar char="▫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5pPr>
      <a:lvl6pPr marL="21748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6pPr>
      <a:lvl7pPr marL="26320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7pPr>
      <a:lvl8pPr marL="30892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8pPr>
      <a:lvl9pPr marL="35464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11258BA5-FDF4-4DF8-A924-CE03C3779B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3798741785"/>
              </p:ext>
            </p:extLst>
          </p:nvPr>
        </p:nvGraphicFramePr>
        <p:xfrm>
          <a:off x="2119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42" name="think-cell Slide" r:id="rId35" imgW="347" imgH="348" progId="TCLayout.ActiveDocument.1">
                  <p:embed/>
                </p:oleObj>
              </mc:Choice>
              <mc:Fallback>
                <p:oleObj name="think-cell Slide" r:id="rId3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CCFE92F8-E224-48AB-B038-12AB9704D2DA}"/>
              </a:ext>
            </a:extLst>
          </p:cNvPr>
          <p:cNvSpPr/>
          <p:nvPr userDrawn="1">
            <p:custDataLst>
              <p:tags r:id="rId34"/>
            </p:custDataLst>
          </p:nvPr>
        </p:nvSpPr>
        <p:spPr>
          <a:xfrm>
            <a:off x="1" y="0"/>
            <a:ext cx="211667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>
              <a:latin typeface="Gill Sans MT" panose="020B0502020104020203" pitchFamily="34" charset="0"/>
              <a:ea typeface="+mj-ea"/>
              <a:sym typeface="Gill Sans MT" panose="020B05020201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4805" y="457200"/>
            <a:ext cx="10363200" cy="9144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1600200"/>
            <a:ext cx="103632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0" y="6530079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600" b="0" i="0">
                <a:solidFill>
                  <a:srgbClr val="635C5B"/>
                </a:solidFill>
                <a:latin typeface="Gill Sans MT"/>
                <a:cs typeface="Gill Sans MT"/>
              </a:defRPr>
            </a:lvl1pPr>
          </a:lstStyle>
          <a:p>
            <a:fld id="{7C017F59-29DA-6F48-B92A-5AD511CC2D63}" type="datetime1">
              <a:rPr lang="en-US" smtClean="0"/>
              <a:pPr/>
              <a:t>7/3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530079"/>
            <a:ext cx="3860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600" b="0" i="0">
                <a:solidFill>
                  <a:srgbClr val="635C5B"/>
                </a:solidFill>
                <a:latin typeface="Gill Sans MT"/>
                <a:cs typeface="Gill Sans MT"/>
              </a:defRPr>
            </a:lvl1pPr>
          </a:lstStyle>
          <a:p>
            <a:r>
              <a:rPr lang="en-US" dirty="0"/>
              <a:t>FOOTER GOES HER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530079"/>
            <a:ext cx="2844800" cy="184666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600" b="0" i="0">
                <a:solidFill>
                  <a:srgbClr val="635C5B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rame 6"/>
          <p:cNvSpPr/>
          <p:nvPr/>
        </p:nvSpPr>
        <p:spPr>
          <a:xfrm>
            <a:off x="0" y="0"/>
            <a:ext cx="12192000" cy="6858000"/>
          </a:xfrm>
          <a:prstGeom prst="frame">
            <a:avLst>
              <a:gd name="adj1" fmla="val 2222"/>
            </a:avLst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solidFill>
                <a:srgbClr val="FFFFFF"/>
              </a:solidFill>
              <a:latin typeface="Gill Sans MT"/>
              <a:cs typeface="Gill Sans MT"/>
            </a:endParaRPr>
          </a:p>
        </p:txBody>
      </p:sp>
    </p:spTree>
    <p:extLst>
      <p:ext uri="{BB962C8B-B14F-4D97-AF65-F5344CB8AC3E}">
        <p14:creationId xmlns:p14="http://schemas.microsoft.com/office/powerpoint/2010/main" val="24114078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7" r:id="rId1"/>
    <p:sldLayoutId id="2147483898" r:id="rId2"/>
    <p:sldLayoutId id="2147483899" r:id="rId3"/>
    <p:sldLayoutId id="2147483900" r:id="rId4"/>
    <p:sldLayoutId id="2147483901" r:id="rId5"/>
    <p:sldLayoutId id="2147483902" r:id="rId6"/>
    <p:sldLayoutId id="2147483903" r:id="rId7"/>
    <p:sldLayoutId id="2147483904" r:id="rId8"/>
    <p:sldLayoutId id="2147483905" r:id="rId9"/>
    <p:sldLayoutId id="2147483906" r:id="rId10"/>
    <p:sldLayoutId id="2147483907" r:id="rId11"/>
    <p:sldLayoutId id="2147483908" r:id="rId12"/>
    <p:sldLayoutId id="2147483909" r:id="rId13"/>
    <p:sldLayoutId id="2147483910" r:id="rId14"/>
    <p:sldLayoutId id="2147483911" r:id="rId15"/>
    <p:sldLayoutId id="2147483912" r:id="rId16"/>
    <p:sldLayoutId id="2147483913" r:id="rId17"/>
    <p:sldLayoutId id="2147483914" r:id="rId18"/>
    <p:sldLayoutId id="2147483915" r:id="rId19"/>
    <p:sldLayoutId id="2147483916" r:id="rId20"/>
    <p:sldLayoutId id="2147483917" r:id="rId21"/>
    <p:sldLayoutId id="2147483918" r:id="rId22"/>
    <p:sldLayoutId id="2147483919" r:id="rId23"/>
    <p:sldLayoutId id="2147483920" r:id="rId24"/>
    <p:sldLayoutId id="2147483921" r:id="rId25"/>
    <p:sldLayoutId id="2147483922" r:id="rId26"/>
    <p:sldLayoutId id="2147483923" r:id="rId27"/>
    <p:sldLayoutId id="2147483924" r:id="rId28"/>
    <p:sldLayoutId id="2147483925" r:id="rId29"/>
    <p:sldLayoutId id="2147483926" r:id="rId30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2800" b="0" i="0" kern="1200">
          <a:solidFill>
            <a:srgbClr val="BA0C2F"/>
          </a:solidFill>
          <a:latin typeface="Gill Sans MT"/>
          <a:ea typeface="+mj-ea"/>
          <a:cs typeface="Gill Sans MT"/>
        </a:defRPr>
      </a:lvl1pPr>
    </p:titleStyle>
    <p:bodyStyle>
      <a:lvl1pPr marL="230188" indent="-230188" algn="l" defTabSz="457200" rtl="0" eaLnBrk="1" latinLnBrk="0" hangingPunct="1">
        <a:spcBef>
          <a:spcPts val="0"/>
        </a:spcBef>
        <a:spcAft>
          <a:spcPts val="1200"/>
        </a:spcAft>
        <a:buFont typeface="Arial"/>
        <a:buChar char="•"/>
        <a:defRPr sz="2000" b="0" i="0" kern="1200">
          <a:solidFill>
            <a:srgbClr val="635C5B"/>
          </a:solidFill>
          <a:latin typeface="Gill Sans MT"/>
          <a:ea typeface="+mn-ea"/>
          <a:cs typeface="Gill Sans MT"/>
        </a:defRPr>
      </a:lvl1pPr>
      <a:lvl2pPr marL="684213" indent="-230188" algn="l" defTabSz="457200" rtl="0" eaLnBrk="1" latinLnBrk="0" hangingPunct="1">
        <a:spcBef>
          <a:spcPts val="0"/>
        </a:spcBef>
        <a:spcAft>
          <a:spcPts val="1200"/>
        </a:spcAft>
        <a:buFont typeface="Arial"/>
        <a:buChar char="–"/>
        <a:defRPr sz="2000" b="0" i="0" kern="1200">
          <a:solidFill>
            <a:srgbClr val="635C5B"/>
          </a:solidFill>
          <a:latin typeface="Gill Sans MT"/>
          <a:ea typeface="+mn-ea"/>
          <a:cs typeface="Gill Sans MT"/>
        </a:defRPr>
      </a:lvl2pPr>
      <a:lvl3pPr marL="914400" indent="-230188" algn="l" defTabSz="457200" rtl="0" eaLnBrk="1" latinLnBrk="0" hangingPunct="1">
        <a:spcBef>
          <a:spcPct val="20000"/>
        </a:spcBef>
        <a:buFont typeface="Arial"/>
        <a:buChar char="•"/>
        <a:defRPr sz="1800" b="0" i="0" kern="1200">
          <a:solidFill>
            <a:srgbClr val="6C6463"/>
          </a:solidFill>
          <a:latin typeface="Gill Sans MT"/>
          <a:ea typeface="+mn-ea"/>
          <a:cs typeface="Gill Sans MT"/>
        </a:defRPr>
      </a:lvl3pPr>
      <a:lvl4pPr marL="1146175" indent="-231775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rgbClr val="6C6463"/>
          </a:solidFill>
          <a:latin typeface="Gill Sans MT"/>
          <a:ea typeface="+mn-ea"/>
          <a:cs typeface="Gill Sans MT"/>
        </a:defRPr>
      </a:lvl4pPr>
      <a:lvl5pPr marL="1255713" indent="-230188" algn="l" defTabSz="457200" rtl="0" eaLnBrk="1" latinLnBrk="0" hangingPunct="1">
        <a:spcBef>
          <a:spcPct val="20000"/>
        </a:spcBef>
        <a:buFont typeface="Arial"/>
        <a:buChar char="»"/>
        <a:defRPr sz="1400" b="0" i="0" kern="1200">
          <a:solidFill>
            <a:srgbClr val="6C6463"/>
          </a:solidFill>
          <a:latin typeface="Gill Sans MT"/>
          <a:ea typeface="+mn-ea"/>
          <a:cs typeface="Gill Sans MT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807833531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8" name="think-cell Slide" r:id="rId21" imgW="530" imgH="531" progId="TCLayout.ActiveDocument.1">
                  <p:embed/>
                </p:oleObj>
              </mc:Choice>
              <mc:Fallback>
                <p:oleObj name="think-cell Slide" r:id="rId21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AA7DFF2-30A6-4A5E-9067-2F98B3FF9835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1" y="0"/>
            <a:ext cx="21166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200" b="0" i="0" baseline="0" dirty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555759"/>
              </a:solidFill>
              <a:effectLst/>
              <a:uLnTx/>
              <a:uFillTx/>
              <a:latin typeface="Palatino Linotype" pitchFamily="18" charset="0"/>
            </a:endParaRPr>
          </a:p>
        </p:txBody>
      </p:sp>
      <p:sp>
        <p:nvSpPr>
          <p:cNvPr id="17" name="Rectangle 16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555759"/>
              </a:solidFill>
              <a:effectLst/>
              <a:uLnTx/>
              <a:uFillTx/>
              <a:latin typeface="Palatino Linotype" pitchFamily="18" charset="0"/>
            </a:endParaRPr>
          </a:p>
        </p:txBody>
      </p:sp>
      <p:sp>
        <p:nvSpPr>
          <p:cNvPr id="1026" name="Title"/>
          <p:cNvSpPr>
            <a:spLocks noGrp="1" noChangeArrowheads="1"/>
          </p:cNvSpPr>
          <p:nvPr>
            <p:ph type="title"/>
            <p:custDataLst>
              <p:tags r:id="rId19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/>
          </a:p>
        </p:txBody>
      </p:sp>
      <p:sp>
        <p:nvSpPr>
          <p:cNvPr id="1027" name="BodyText"/>
          <p:cNvSpPr>
            <a:spLocks noGrp="1" noChangeArrowheads="1"/>
          </p:cNvSpPr>
          <p:nvPr>
            <p:ph type="body" idx="1"/>
            <p:custDataLst>
              <p:tags r:id="rId20"/>
            </p:custDataLst>
          </p:nvPr>
        </p:nvSpPr>
        <p:spPr bwMode="gray">
          <a:xfrm>
            <a:off x="287453" y="1341114"/>
            <a:ext cx="11625600" cy="48280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04804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8"/>
          <p:cNvSpPr txBox="1">
            <a:spLocks/>
          </p:cNvSpPr>
          <p:nvPr userDrawn="1"/>
        </p:nvSpPr>
        <p:spPr>
          <a:xfrm>
            <a:off x="475204" y="6370119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2016 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Navigant – A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Guidehouse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Company Consulting,</a:t>
            </a:r>
            <a:r>
              <a:rPr lang="en-US" sz="900" baseline="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Inc. All rights Reserved</a:t>
            </a:r>
            <a:endParaRPr lang="en-US" sz="9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3" name="Text Placeholder 18"/>
          <p:cNvSpPr txBox="1">
            <a:spLocks/>
          </p:cNvSpPr>
          <p:nvPr userDrawn="1"/>
        </p:nvSpPr>
        <p:spPr>
          <a:xfrm>
            <a:off x="182020" y="6365442"/>
            <a:ext cx="824304" cy="210020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1" y="6396705"/>
            <a:ext cx="1303209" cy="168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3177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29" r:id="rId2"/>
    <p:sldLayoutId id="2147483930" r:id="rId3"/>
    <p:sldLayoutId id="2147483931" r:id="rId4"/>
    <p:sldLayoutId id="2147483932" r:id="rId5"/>
    <p:sldLayoutId id="2147483933" r:id="rId6"/>
    <p:sldLayoutId id="2147483934" r:id="rId7"/>
    <p:sldLayoutId id="2147483935" r:id="rId8"/>
    <p:sldLayoutId id="2147483936" r:id="rId9"/>
    <p:sldLayoutId id="2147483937" r:id="rId10"/>
    <p:sldLayoutId id="2147483938" r:id="rId11"/>
    <p:sldLayoutId id="2147483939" r:id="rId12"/>
    <p:sldLayoutId id="2147483940" r:id="rId13"/>
    <p:sldLayoutId id="2147483941" r:id="rId14"/>
  </p:sldLayoutIdLst>
  <p:hf sldNum="0" hdr="0" ftr="0"/>
  <p:txStyles>
    <p:titleStyle>
      <a:lvl1pPr marL="0" indent="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 lang="en-GB" altLang="ja-JP" sz="2200" b="0" kern="1200" cap="all" baseline="0" dirty="0" smtClean="0">
          <a:solidFill>
            <a:schemeClr val="bg2"/>
          </a:solidFill>
          <a:effectLst/>
          <a:latin typeface="+mn-lt"/>
          <a:ea typeface="+mj-ea"/>
          <a:cs typeface="+mj-cs"/>
          <a:sym typeface="+mj-lt"/>
        </a:defRPr>
      </a:lvl1pPr>
      <a:lvl2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6pPr>
      <a:lvl7pPr marL="914401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7pPr>
      <a:lvl8pPr marL="1371601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9pPr>
    </p:titleStyle>
    <p:bodyStyle>
      <a:lvl1pPr marL="180000" indent="-180000" algn="l" rtl="0" eaLnBrk="1" fontAlgn="base" hangingPunct="1">
        <a:spcBef>
          <a:spcPts val="700"/>
        </a:spcBef>
        <a:spcAft>
          <a:spcPts val="0"/>
        </a:spcAft>
        <a:buChar char="•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360000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–"/>
        <a:defRPr sz="1400" baseline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40000" indent="-179388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720000" indent="-179388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900000" indent="-180000" algn="l" rtl="0" eaLnBrk="1" fontAlgn="base" hangingPunct="1">
        <a:spcBef>
          <a:spcPts val="300"/>
        </a:spcBef>
        <a:spcAft>
          <a:spcPts val="0"/>
        </a:spcAft>
        <a:buFont typeface="Arial" panose="020B0604020202020204" pitchFamily="34" charset="0"/>
        <a:buChar char="-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1080000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 baseline="0">
          <a:solidFill>
            <a:schemeClr val="tx1"/>
          </a:solidFill>
          <a:latin typeface="+mn-lt"/>
          <a:cs typeface="+mn-cs"/>
        </a:defRPr>
      </a:lvl6pPr>
      <a:lvl7pPr marL="1260001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cs typeface="+mn-cs"/>
        </a:defRPr>
      </a:lvl7pPr>
      <a:lvl8pPr marL="1440001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cs typeface="+mn-cs"/>
        </a:defRPr>
      </a:lvl8pPr>
      <a:lvl9pPr marL="1620001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 baseline="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2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2" algn="l" defTabSz="9144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95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3887" userDrawn="1">
          <p15:clr>
            <a:srgbClr val="F26B43"/>
          </p15:clr>
        </p15:guide>
        <p15:guide id="4" pos="180" userDrawn="1">
          <p15:clr>
            <a:srgbClr val="F26B43"/>
          </p15:clr>
        </p15:guide>
        <p15:guide id="5" pos="7507" userDrawn="1">
          <p15:clr>
            <a:srgbClr val="F26B43"/>
          </p15:clr>
        </p15:guide>
        <p15:guide id="6" orient="horz" pos="240" userDrawn="1">
          <p15:clr>
            <a:srgbClr val="F26B43"/>
          </p15:clr>
        </p15:guide>
        <p15:guide id="7" pos="4027" userDrawn="1">
          <p15:clr>
            <a:srgbClr val="F26B43"/>
          </p15:clr>
        </p15:guide>
        <p15:guide id="8" pos="3653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687251935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4" name="think-cell Slide" r:id="rId21" imgW="530" imgH="531" progId="TCLayout.ActiveDocument.1">
                  <p:embed/>
                </p:oleObj>
              </mc:Choice>
              <mc:Fallback>
                <p:oleObj name="think-cell Slide" r:id="rId21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2E2D8EC-17EB-4EE8-8ECE-AE727237F35E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1" y="0"/>
            <a:ext cx="21166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200" b="0" i="0" baseline="0" dirty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555759"/>
              </a:solidFill>
              <a:effectLst/>
              <a:uLnTx/>
              <a:uFillTx/>
              <a:latin typeface="Palatino Linotype" pitchFamily="18" charset="0"/>
            </a:endParaRPr>
          </a:p>
        </p:txBody>
      </p:sp>
      <p:sp>
        <p:nvSpPr>
          <p:cNvPr id="17" name="Rectangle 16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555759"/>
              </a:solidFill>
              <a:effectLst/>
              <a:uLnTx/>
              <a:uFillTx/>
              <a:latin typeface="Palatino Linotype" pitchFamily="18" charset="0"/>
            </a:endParaRPr>
          </a:p>
        </p:txBody>
      </p:sp>
      <p:sp>
        <p:nvSpPr>
          <p:cNvPr id="1026" name="Title"/>
          <p:cNvSpPr>
            <a:spLocks noGrp="1" noChangeArrowheads="1"/>
          </p:cNvSpPr>
          <p:nvPr>
            <p:ph type="title"/>
            <p:custDataLst>
              <p:tags r:id="rId19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/>
          </a:p>
        </p:txBody>
      </p:sp>
      <p:sp>
        <p:nvSpPr>
          <p:cNvPr id="1027" name="BodyText"/>
          <p:cNvSpPr>
            <a:spLocks noGrp="1" noChangeArrowheads="1"/>
          </p:cNvSpPr>
          <p:nvPr>
            <p:ph type="body" idx="1"/>
            <p:custDataLst>
              <p:tags r:id="rId20"/>
            </p:custDataLst>
          </p:nvPr>
        </p:nvSpPr>
        <p:spPr bwMode="gray">
          <a:xfrm>
            <a:off x="287453" y="1341114"/>
            <a:ext cx="11625600" cy="48280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04804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8"/>
          <p:cNvSpPr txBox="1">
            <a:spLocks/>
          </p:cNvSpPr>
          <p:nvPr userDrawn="1"/>
        </p:nvSpPr>
        <p:spPr>
          <a:xfrm>
            <a:off x="475204" y="6370119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2016 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Navigant – A </a:t>
            </a:r>
            <a:r>
              <a:rPr lang="en-US" sz="9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Guidehouse</a:t>
            </a:r>
            <a:r>
              <a:rPr lang="en-US" sz="9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Company Consulting,</a:t>
            </a:r>
            <a:r>
              <a:rPr lang="en-US" sz="900" baseline="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Inc. All rights Reserved</a:t>
            </a:r>
            <a:endParaRPr lang="en-US" sz="9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3" name="Text Placeholder 18"/>
          <p:cNvSpPr txBox="1">
            <a:spLocks/>
          </p:cNvSpPr>
          <p:nvPr userDrawn="1"/>
        </p:nvSpPr>
        <p:spPr>
          <a:xfrm>
            <a:off x="182020" y="6365442"/>
            <a:ext cx="824304" cy="210020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1" y="6396705"/>
            <a:ext cx="1303209" cy="168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37590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0" r:id="rId2"/>
    <p:sldLayoutId id="2147483951" r:id="rId3"/>
    <p:sldLayoutId id="2147483952" r:id="rId4"/>
    <p:sldLayoutId id="2147483953" r:id="rId5"/>
    <p:sldLayoutId id="2147483954" r:id="rId6"/>
    <p:sldLayoutId id="2147483955" r:id="rId7"/>
    <p:sldLayoutId id="2147483956" r:id="rId8"/>
    <p:sldLayoutId id="2147483957" r:id="rId9"/>
    <p:sldLayoutId id="2147483958" r:id="rId10"/>
    <p:sldLayoutId id="2147483959" r:id="rId11"/>
    <p:sldLayoutId id="2147483960" r:id="rId12"/>
    <p:sldLayoutId id="2147483961" r:id="rId13"/>
    <p:sldLayoutId id="2147483962" r:id="rId14"/>
  </p:sldLayoutIdLst>
  <p:hf sldNum="0" hdr="0" ftr="0"/>
  <p:txStyles>
    <p:titleStyle>
      <a:lvl1pPr marL="0" indent="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 lang="en-GB" altLang="ja-JP" sz="2200" b="0" kern="1200" cap="all" baseline="0" dirty="0" smtClean="0">
          <a:solidFill>
            <a:schemeClr val="bg2"/>
          </a:solidFill>
          <a:effectLst/>
          <a:latin typeface="+mn-lt"/>
          <a:ea typeface="+mj-ea"/>
          <a:cs typeface="+mj-cs"/>
          <a:sym typeface="+mj-lt"/>
        </a:defRPr>
      </a:lvl1pPr>
      <a:lvl2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6pPr>
      <a:lvl7pPr marL="914401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7pPr>
      <a:lvl8pPr marL="1371601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9pPr>
    </p:titleStyle>
    <p:bodyStyle>
      <a:lvl1pPr marL="180000" indent="-180000" algn="l" rtl="0" eaLnBrk="1" fontAlgn="base" hangingPunct="1">
        <a:spcBef>
          <a:spcPts val="700"/>
        </a:spcBef>
        <a:spcAft>
          <a:spcPts val="0"/>
        </a:spcAft>
        <a:buChar char="•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360000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–"/>
        <a:defRPr sz="1400" baseline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40000" indent="-179388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720000" indent="-179388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900000" indent="-180000" algn="l" rtl="0" eaLnBrk="1" fontAlgn="base" hangingPunct="1">
        <a:spcBef>
          <a:spcPts val="300"/>
        </a:spcBef>
        <a:spcAft>
          <a:spcPts val="0"/>
        </a:spcAft>
        <a:buFont typeface="Arial" panose="020B0604020202020204" pitchFamily="34" charset="0"/>
        <a:buChar char="-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1080000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 baseline="0">
          <a:solidFill>
            <a:schemeClr val="tx1"/>
          </a:solidFill>
          <a:latin typeface="+mn-lt"/>
          <a:cs typeface="+mn-cs"/>
        </a:defRPr>
      </a:lvl6pPr>
      <a:lvl7pPr marL="1260001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cs typeface="+mn-cs"/>
        </a:defRPr>
      </a:lvl7pPr>
      <a:lvl8pPr marL="1440001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cs typeface="+mn-cs"/>
        </a:defRPr>
      </a:lvl8pPr>
      <a:lvl9pPr marL="1620001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 baseline="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2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2" algn="l" defTabSz="9144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95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3887" userDrawn="1">
          <p15:clr>
            <a:srgbClr val="F26B43"/>
          </p15:clr>
        </p15:guide>
        <p15:guide id="4" pos="180" userDrawn="1">
          <p15:clr>
            <a:srgbClr val="F26B43"/>
          </p15:clr>
        </p15:guide>
        <p15:guide id="5" pos="7507" userDrawn="1">
          <p15:clr>
            <a:srgbClr val="F26B43"/>
          </p15:clr>
        </p15:guide>
        <p15:guide id="6" orient="horz" pos="240" userDrawn="1">
          <p15:clr>
            <a:srgbClr val="F26B43"/>
          </p15:clr>
        </p15:guide>
        <p15:guide id="7" pos="4027" userDrawn="1">
          <p15:clr>
            <a:srgbClr val="F26B43"/>
          </p15:clr>
        </p15:guide>
        <p15:guide id="8" pos="3653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861787817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0" name="think-cell Slide" r:id="rId7" imgW="216" imgH="216" progId="TCLayout.ActiveDocument.1">
                  <p:embed/>
                </p:oleObj>
              </mc:Choice>
              <mc:Fallback>
                <p:oleObj name="think-cell Slide" r:id="rId7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 Placeholder 18"/>
          <p:cNvSpPr txBox="1">
            <a:spLocks/>
          </p:cNvSpPr>
          <p:nvPr userDrawn="1"/>
        </p:nvSpPr>
        <p:spPr>
          <a:xfrm>
            <a:off x="412683" y="6370119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2016 </a:t>
            </a:r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Navigant – A </a:t>
            </a:r>
            <a:r>
              <a:rPr lang="en-US" sz="900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Guidehouse</a:t>
            </a:r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Company Consulting,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Inc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304804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18"/>
          <p:cNvSpPr txBox="1">
            <a:spLocks/>
          </p:cNvSpPr>
          <p:nvPr userDrawn="1"/>
        </p:nvSpPr>
        <p:spPr>
          <a:xfrm>
            <a:off x="182021" y="6365444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sp>
        <p:nvSpPr>
          <p:cNvPr id="1037" name="Rectangle 14"/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2772748" y="1262358"/>
            <a:ext cx="9142163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4" name="Straight Connector 3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7281" y="6400190"/>
            <a:ext cx="1303209" cy="168518"/>
          </a:xfrm>
          <a:prstGeom prst="rect">
            <a:avLst/>
          </a:prstGeom>
        </p:spPr>
      </p:pic>
      <p:cxnSp>
        <p:nvCxnSpPr>
          <p:cNvPr id="5" name="Straight Connector 4"/>
          <p:cNvCxnSpPr/>
          <p:nvPr userDrawn="1"/>
        </p:nvCxnSpPr>
        <p:spPr bwMode="auto">
          <a:xfrm>
            <a:off x="2772748" y="1022438"/>
            <a:ext cx="9419253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Freeform 10"/>
          <p:cNvSpPr/>
          <p:nvPr userDrawn="1"/>
        </p:nvSpPr>
        <p:spPr>
          <a:xfrm>
            <a:off x="2" y="1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793926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6" r:id="rId1"/>
    <p:sldLayoutId id="2147483967" r:id="rId2"/>
    <p:sldLayoutId id="2147483970" r:id="rId3"/>
  </p:sldLayoutIdLst>
  <p:hf sldNum="0" hdr="0" dt="0"/>
  <p:txStyles>
    <p:titleStyle>
      <a:lvl1pPr marL="0" indent="0" algn="l" rtl="0" eaLnBrk="1" fontAlgn="base" hangingPunct="1">
        <a:spcBef>
          <a:spcPct val="0"/>
        </a:spcBef>
        <a:spcAft>
          <a:spcPct val="0"/>
        </a:spcAft>
        <a:defRPr lang="en-US" sz="2200" b="0" kern="1200" cap="all" baseline="0" dirty="0">
          <a:solidFill>
            <a:schemeClr val="accent1"/>
          </a:solidFill>
          <a:effectLst/>
          <a:latin typeface="+mn-lt"/>
          <a:ea typeface="+mj-ea"/>
          <a:cs typeface="+mj-cs"/>
        </a:defRPr>
      </a:lvl1pPr>
      <a:lvl2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2pPr>
      <a:lvl3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3pPr>
      <a:lvl4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4pPr>
      <a:lvl5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5pPr>
      <a:lvl6pPr marL="10350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6pPr>
      <a:lvl7pPr marL="14922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7pPr>
      <a:lvl8pPr marL="19494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8pPr>
      <a:lvl9pPr marL="24066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9pPr>
    </p:titleStyle>
    <p:bodyStyle>
      <a:lvl1pPr marL="230188" indent="-2301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800" kern="1200" dirty="0">
          <a:solidFill>
            <a:schemeClr val="accent1"/>
          </a:solidFill>
          <a:latin typeface="+mj-lt"/>
          <a:ea typeface="+mn-ea"/>
          <a:cs typeface="+mn-cs"/>
        </a:defRPr>
      </a:lvl1pPr>
      <a:lvl2pPr marL="460375" indent="-22383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-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2pPr>
      <a:lvl3pPr marL="1027113" indent="-3444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3pPr>
      <a:lvl4pPr marL="1373188" indent="-3444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Palatino Linotype" pitchFamily="18" charset="0"/>
        <a:buChar char="◦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4pPr>
      <a:lvl5pPr marL="1717675" indent="-34290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Palatino Linotype" pitchFamily="18" charset="0"/>
        <a:buChar char="▫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5pPr>
      <a:lvl6pPr marL="21748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6pPr>
      <a:lvl7pPr marL="26320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7pPr>
      <a:lvl8pPr marL="30892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8pPr>
      <a:lvl9pPr marL="35464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898086375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4" name="think-cell Slide" r:id="rId8" imgW="216" imgH="216" progId="TCLayout.ActiveDocument.1">
                  <p:embed/>
                </p:oleObj>
              </mc:Choice>
              <mc:Fallback>
                <p:oleObj name="think-cell Slide" r:id="rId8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 Placeholder 18"/>
          <p:cNvSpPr txBox="1">
            <a:spLocks/>
          </p:cNvSpPr>
          <p:nvPr userDrawn="1"/>
        </p:nvSpPr>
        <p:spPr>
          <a:xfrm>
            <a:off x="412683" y="6370119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2019 </a:t>
            </a:r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Navigant – A </a:t>
            </a:r>
            <a:r>
              <a:rPr lang="en-US" sz="900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Guidehouse</a:t>
            </a:r>
            <a:r>
              <a:rPr lang="en-US" sz="9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Company Consulting,</a:t>
            </a:r>
            <a:r>
              <a:rPr lang="en-US" sz="900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Inc. All rights Reserved</a:t>
            </a:r>
            <a:endParaRPr lang="en-US" sz="900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304804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18"/>
          <p:cNvSpPr txBox="1">
            <a:spLocks/>
          </p:cNvSpPr>
          <p:nvPr userDrawn="1"/>
        </p:nvSpPr>
        <p:spPr>
          <a:xfrm>
            <a:off x="182021" y="6365444"/>
            <a:ext cx="478315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sz="900" dirty="0"/>
          </a:p>
        </p:txBody>
      </p:sp>
      <p:sp>
        <p:nvSpPr>
          <p:cNvPr id="1037" name="Rectangle 14"/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2772748" y="1262358"/>
            <a:ext cx="9142163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4" name="Straight Connector 3"/>
          <p:cNvCxnSpPr/>
          <p:nvPr userDrawn="1"/>
        </p:nvCxnSpPr>
        <p:spPr bwMode="auto">
          <a:xfrm flipH="1">
            <a:off x="0" y="6302465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7281" y="6400190"/>
            <a:ext cx="1303209" cy="168518"/>
          </a:xfrm>
          <a:prstGeom prst="rect">
            <a:avLst/>
          </a:prstGeom>
        </p:spPr>
      </p:pic>
      <p:cxnSp>
        <p:nvCxnSpPr>
          <p:cNvPr id="5" name="Straight Connector 4"/>
          <p:cNvCxnSpPr/>
          <p:nvPr userDrawn="1"/>
        </p:nvCxnSpPr>
        <p:spPr bwMode="auto">
          <a:xfrm>
            <a:off x="2772748" y="1022438"/>
            <a:ext cx="9419253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Freeform 10"/>
          <p:cNvSpPr/>
          <p:nvPr userDrawn="1"/>
        </p:nvSpPr>
        <p:spPr>
          <a:xfrm>
            <a:off x="2" y="1"/>
            <a:ext cx="2781343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0119324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74" r:id="rId3"/>
    <p:sldLayoutId id="2147483976" r:id="rId4"/>
  </p:sldLayoutIdLst>
  <p:hf sldNum="0" hdr="0" dt="0"/>
  <p:txStyles>
    <p:titleStyle>
      <a:lvl1pPr marL="0" indent="0" algn="l" rtl="0" eaLnBrk="1" fontAlgn="base" hangingPunct="1">
        <a:spcBef>
          <a:spcPct val="0"/>
        </a:spcBef>
        <a:spcAft>
          <a:spcPct val="0"/>
        </a:spcAft>
        <a:defRPr lang="en-US" sz="2200" b="0" kern="1200" cap="all" baseline="0" dirty="0">
          <a:solidFill>
            <a:schemeClr val="accent1"/>
          </a:solidFill>
          <a:effectLst/>
          <a:latin typeface="+mn-lt"/>
          <a:ea typeface="+mj-ea"/>
          <a:cs typeface="+mj-cs"/>
        </a:defRPr>
      </a:lvl1pPr>
      <a:lvl2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2pPr>
      <a:lvl3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3pPr>
      <a:lvl4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4pPr>
      <a:lvl5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5pPr>
      <a:lvl6pPr marL="10350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6pPr>
      <a:lvl7pPr marL="14922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7pPr>
      <a:lvl8pPr marL="19494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8pPr>
      <a:lvl9pPr marL="24066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9pPr>
    </p:titleStyle>
    <p:bodyStyle>
      <a:lvl1pPr marL="230188" indent="-2301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800" kern="1200" dirty="0">
          <a:solidFill>
            <a:schemeClr val="accent1"/>
          </a:solidFill>
          <a:latin typeface="+mj-lt"/>
          <a:ea typeface="+mn-ea"/>
          <a:cs typeface="+mn-cs"/>
        </a:defRPr>
      </a:lvl1pPr>
      <a:lvl2pPr marL="460375" indent="-22383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-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2pPr>
      <a:lvl3pPr marL="1027113" indent="-3444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3pPr>
      <a:lvl4pPr marL="1373188" indent="-3444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Palatino Linotype" pitchFamily="18" charset="0"/>
        <a:buChar char="◦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4pPr>
      <a:lvl5pPr marL="1717675" indent="-34290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Palatino Linotype" pitchFamily="18" charset="0"/>
        <a:buChar char="▫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5pPr>
      <a:lvl6pPr marL="21748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6pPr>
      <a:lvl7pPr marL="26320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7pPr>
      <a:lvl8pPr marL="30892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8pPr>
      <a:lvl9pPr marL="35464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405309406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2" name="think-cell Slide" r:id="rId21" imgW="530" imgH="531" progId="TCLayout.ActiveDocument.1">
                  <p:embed/>
                </p:oleObj>
              </mc:Choice>
              <mc:Fallback>
                <p:oleObj name="think-cell Slide" r:id="rId21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D8C1984-9339-4264-979E-66D14AF9EDCE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1" y="0"/>
            <a:ext cx="21166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200" b="0" i="0" baseline="0" dirty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1800" kern="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17" name="Rectangle 16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1800" kern="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1026" name="Title"/>
          <p:cNvSpPr>
            <a:spLocks noGrp="1" noChangeArrowheads="1"/>
          </p:cNvSpPr>
          <p:nvPr>
            <p:ph type="title"/>
            <p:custDataLst>
              <p:tags r:id="rId19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1027" name="BodyText"/>
          <p:cNvSpPr>
            <a:spLocks noGrp="1" noChangeArrowheads="1"/>
          </p:cNvSpPr>
          <p:nvPr>
            <p:ph type="body" idx="1"/>
            <p:custDataLst>
              <p:tags r:id="rId20"/>
            </p:custDataLst>
          </p:nvPr>
        </p:nvSpPr>
        <p:spPr bwMode="gray">
          <a:xfrm>
            <a:off x="287453" y="1341114"/>
            <a:ext cx="11625600" cy="48280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GB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04804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8"/>
          <p:cNvSpPr txBox="1">
            <a:spLocks/>
          </p:cNvSpPr>
          <p:nvPr userDrawn="1"/>
        </p:nvSpPr>
        <p:spPr>
          <a:xfrm>
            <a:off x="475204" y="6370119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r>
              <a:rPr sz="900" dirty="0">
                <a:solidFill>
                  <a:srgbClr val="555759">
                    <a:lumMod val="60000"/>
                    <a:lumOff val="40000"/>
                  </a:srgbClr>
                </a:solidFill>
              </a:rPr>
              <a:t>/ ©2016 </a:t>
            </a:r>
            <a:r>
              <a:rPr lang="en-US" sz="900" dirty="0">
                <a:solidFill>
                  <a:srgbClr val="555759">
                    <a:lumMod val="60000"/>
                    <a:lumOff val="40000"/>
                  </a:srgbClr>
                </a:solidFill>
              </a:rPr>
              <a:t>Navigant – A </a:t>
            </a:r>
            <a:r>
              <a:rPr lang="en-US" sz="900" dirty="0" err="1">
                <a:solidFill>
                  <a:srgbClr val="555759">
                    <a:lumMod val="60000"/>
                    <a:lumOff val="40000"/>
                  </a:srgbClr>
                </a:solidFill>
              </a:rPr>
              <a:t>Guidehouse</a:t>
            </a:r>
            <a:r>
              <a:rPr lang="en-US" sz="900" dirty="0">
                <a:solidFill>
                  <a:srgbClr val="555759">
                    <a:lumMod val="60000"/>
                    <a:lumOff val="40000"/>
                  </a:srgbClr>
                </a:solidFill>
              </a:rPr>
              <a:t> Company</a:t>
            </a:r>
            <a:r>
              <a:rPr sz="900" dirty="0">
                <a:solidFill>
                  <a:srgbClr val="555759">
                    <a:lumMod val="60000"/>
                    <a:lumOff val="40000"/>
                  </a:srgbClr>
                </a:solidFill>
              </a:rPr>
              <a:t> Consulting, Inc. All rights Reserved</a:t>
            </a:r>
          </a:p>
        </p:txBody>
      </p:sp>
      <p:sp>
        <p:nvSpPr>
          <p:cNvPr id="13" name="Text Placeholder 18"/>
          <p:cNvSpPr txBox="1">
            <a:spLocks/>
          </p:cNvSpPr>
          <p:nvPr userDrawn="1"/>
        </p:nvSpPr>
        <p:spPr>
          <a:xfrm>
            <a:off x="182020" y="6365442"/>
            <a:ext cx="824304" cy="210020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fld id="{C0D4A90D-707C-4CFA-8F87-17CF45DE2B45}" type="slidenum">
              <a:rPr sz="900" smtClean="0">
                <a:solidFill>
                  <a:srgbClr val="95D600"/>
                </a:solidFill>
              </a:rPr>
              <a:pPr>
                <a:buClr>
                  <a:srgbClr val="648C1A"/>
                </a:buClr>
              </a:pPr>
              <a:t>‹#›</a:t>
            </a:fld>
            <a:endParaRPr sz="900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1" y="6396705"/>
            <a:ext cx="1303209" cy="168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1782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8" r:id="rId1"/>
    <p:sldLayoutId id="2147483979" r:id="rId2"/>
    <p:sldLayoutId id="2147483980" r:id="rId3"/>
    <p:sldLayoutId id="2147483981" r:id="rId4"/>
    <p:sldLayoutId id="2147483982" r:id="rId5"/>
    <p:sldLayoutId id="2147483983" r:id="rId6"/>
    <p:sldLayoutId id="2147483984" r:id="rId7"/>
    <p:sldLayoutId id="2147483985" r:id="rId8"/>
    <p:sldLayoutId id="2147483986" r:id="rId9"/>
    <p:sldLayoutId id="2147483987" r:id="rId10"/>
    <p:sldLayoutId id="2147483988" r:id="rId11"/>
    <p:sldLayoutId id="2147483989" r:id="rId12"/>
    <p:sldLayoutId id="2147483990" r:id="rId13"/>
    <p:sldLayoutId id="2147483991" r:id="rId14"/>
  </p:sldLayoutIdLst>
  <p:hf sldNum="0" hdr="0" ftr="0"/>
  <p:txStyles>
    <p:titleStyle>
      <a:lvl1pPr marL="0" indent="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 lang="en-GB" altLang="ja-JP" sz="2200" b="0" kern="1200" cap="all" baseline="0" dirty="0" smtClean="0">
          <a:solidFill>
            <a:schemeClr val="bg2"/>
          </a:solidFill>
          <a:effectLst/>
          <a:latin typeface="+mn-lt"/>
          <a:ea typeface="+mj-ea"/>
          <a:cs typeface="+mj-cs"/>
          <a:sym typeface="+mj-lt"/>
        </a:defRPr>
      </a:lvl1pPr>
      <a:lvl2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6pPr>
      <a:lvl7pPr marL="914401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7pPr>
      <a:lvl8pPr marL="1371601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9pPr>
    </p:titleStyle>
    <p:bodyStyle>
      <a:lvl1pPr marL="180000" indent="-180000" algn="l" rtl="0" eaLnBrk="1" fontAlgn="base" hangingPunct="1">
        <a:spcBef>
          <a:spcPts val="700"/>
        </a:spcBef>
        <a:spcAft>
          <a:spcPts val="0"/>
        </a:spcAft>
        <a:buChar char="•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360000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–"/>
        <a:defRPr sz="1400" baseline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40000" indent="-179388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720000" indent="-179388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900000" indent="-180000" algn="l" rtl="0" eaLnBrk="1" fontAlgn="base" hangingPunct="1">
        <a:spcBef>
          <a:spcPts val="300"/>
        </a:spcBef>
        <a:spcAft>
          <a:spcPts val="0"/>
        </a:spcAft>
        <a:buFont typeface="Arial" panose="020B0604020202020204" pitchFamily="34" charset="0"/>
        <a:buChar char="-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1080000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 baseline="0">
          <a:solidFill>
            <a:schemeClr val="tx1"/>
          </a:solidFill>
          <a:latin typeface="+mn-lt"/>
          <a:cs typeface="+mn-cs"/>
        </a:defRPr>
      </a:lvl6pPr>
      <a:lvl7pPr marL="1260001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cs typeface="+mn-cs"/>
        </a:defRPr>
      </a:lvl7pPr>
      <a:lvl8pPr marL="1440001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cs typeface="+mn-cs"/>
        </a:defRPr>
      </a:lvl8pPr>
      <a:lvl9pPr marL="1620001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 baseline="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2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2" algn="l" defTabSz="9144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95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3887" userDrawn="1">
          <p15:clr>
            <a:srgbClr val="F26B43"/>
          </p15:clr>
        </p15:guide>
        <p15:guide id="4" pos="180" userDrawn="1">
          <p15:clr>
            <a:srgbClr val="F26B43"/>
          </p15:clr>
        </p15:guide>
        <p15:guide id="5" pos="7507" userDrawn="1">
          <p15:clr>
            <a:srgbClr val="F26B43"/>
          </p15:clr>
        </p15:guide>
        <p15:guide id="6" orient="horz" pos="240" userDrawn="1">
          <p15:clr>
            <a:srgbClr val="F26B43"/>
          </p15:clr>
        </p15:guide>
        <p15:guide id="7" pos="4027" userDrawn="1">
          <p15:clr>
            <a:srgbClr val="F26B43"/>
          </p15:clr>
        </p15:guide>
        <p15:guide id="8" pos="3653" userDrawn="1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325900185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8" name="think-cell Slide" r:id="rId21" imgW="530" imgH="531" progId="TCLayout.ActiveDocument.1">
                  <p:embed/>
                </p:oleObj>
              </mc:Choice>
              <mc:Fallback>
                <p:oleObj name="think-cell Slide" r:id="rId21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FF7FBBC-F3E3-4825-8C1B-06C0D7AA8C45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1" y="0"/>
            <a:ext cx="21166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2200" b="0" i="0" baseline="0" dirty="0">
              <a:solidFill>
                <a:schemeClr val="tx1"/>
              </a:solidFill>
              <a:latin typeface="Arial" panose="020B0604020202020204" pitchFamily="34" charset="0"/>
              <a:ea typeface="Meiryo" panose="020B060403050404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/>
          <p:cNvSpPr/>
          <p:nvPr userDrawn="1"/>
        </p:nvSpPr>
        <p:spPr bwMode="auto">
          <a:xfrm>
            <a:off x="0" y="0"/>
            <a:ext cx="12192000" cy="1074396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1800" kern="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17" name="Rectangle 16"/>
          <p:cNvSpPr/>
          <p:nvPr userDrawn="1"/>
        </p:nvSpPr>
        <p:spPr bwMode="auto">
          <a:xfrm>
            <a:off x="0" y="1074396"/>
            <a:ext cx="12192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1800" kern="0" dirty="0">
              <a:solidFill>
                <a:srgbClr val="555759"/>
              </a:solidFill>
              <a:latin typeface="Palatino Linotype" pitchFamily="18" charset="0"/>
            </a:endParaRPr>
          </a:p>
        </p:txBody>
      </p:sp>
      <p:sp>
        <p:nvSpPr>
          <p:cNvPr id="1026" name="Title"/>
          <p:cNvSpPr>
            <a:spLocks noGrp="1" noChangeArrowheads="1"/>
          </p:cNvSpPr>
          <p:nvPr>
            <p:ph type="title"/>
            <p:custDataLst>
              <p:tags r:id="rId19"/>
            </p:custDataLst>
          </p:nvPr>
        </p:nvSpPr>
        <p:spPr bwMode="gray">
          <a:xfrm>
            <a:off x="287453" y="1"/>
            <a:ext cx="11625600" cy="1011600"/>
          </a:xfrm>
          <a:prstGeom prst="rect">
            <a:avLst/>
          </a:prstGeom>
        </p:spPr>
        <p:txBody>
          <a:bodyPr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1027" name="BodyText"/>
          <p:cNvSpPr>
            <a:spLocks noGrp="1" noChangeArrowheads="1"/>
          </p:cNvSpPr>
          <p:nvPr>
            <p:ph type="body" idx="1"/>
            <p:custDataLst>
              <p:tags r:id="rId20"/>
            </p:custDataLst>
          </p:nvPr>
        </p:nvSpPr>
        <p:spPr bwMode="gray">
          <a:xfrm>
            <a:off x="287453" y="1341114"/>
            <a:ext cx="11625600" cy="48280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  <a:p>
            <a:pPr lvl="4"/>
            <a:r>
              <a:rPr lang="en-US" altLang="ja-JP" dirty="0"/>
              <a:t>Fifth level</a:t>
            </a:r>
            <a:endParaRPr lang="en-GB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04804" y="6250077"/>
            <a:ext cx="11592985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8"/>
          <p:cNvSpPr txBox="1">
            <a:spLocks/>
          </p:cNvSpPr>
          <p:nvPr userDrawn="1"/>
        </p:nvSpPr>
        <p:spPr>
          <a:xfrm>
            <a:off x="475204" y="6370119"/>
            <a:ext cx="7770501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r>
              <a:rPr sz="900" dirty="0">
                <a:solidFill>
                  <a:srgbClr val="555759">
                    <a:lumMod val="60000"/>
                    <a:lumOff val="40000"/>
                  </a:srgbClr>
                </a:solidFill>
              </a:rPr>
              <a:t>/ ©201</a:t>
            </a:r>
            <a:r>
              <a:rPr lang="en-US" sz="900" dirty="0">
                <a:solidFill>
                  <a:srgbClr val="555759">
                    <a:lumMod val="60000"/>
                    <a:lumOff val="40000"/>
                  </a:srgbClr>
                </a:solidFill>
              </a:rPr>
              <a:t>9</a:t>
            </a:r>
            <a:r>
              <a:rPr sz="900" dirty="0">
                <a:solidFill>
                  <a:srgbClr val="555759">
                    <a:lumMod val="60000"/>
                    <a:lumOff val="40000"/>
                  </a:srgbClr>
                </a:solidFill>
              </a:rPr>
              <a:t> </a:t>
            </a:r>
            <a:r>
              <a:rPr lang="en-US" sz="900" dirty="0">
                <a:solidFill>
                  <a:srgbClr val="555759">
                    <a:lumMod val="60000"/>
                    <a:lumOff val="40000"/>
                  </a:srgbClr>
                </a:solidFill>
              </a:rPr>
              <a:t>Navigant – A </a:t>
            </a:r>
            <a:r>
              <a:rPr lang="en-US" sz="900" dirty="0" err="1">
                <a:solidFill>
                  <a:srgbClr val="555759">
                    <a:lumMod val="60000"/>
                    <a:lumOff val="40000"/>
                  </a:srgbClr>
                </a:solidFill>
              </a:rPr>
              <a:t>Guidehouse</a:t>
            </a:r>
            <a:r>
              <a:rPr lang="en-US" sz="900" dirty="0">
                <a:solidFill>
                  <a:srgbClr val="555759">
                    <a:lumMod val="60000"/>
                    <a:lumOff val="40000"/>
                  </a:srgbClr>
                </a:solidFill>
              </a:rPr>
              <a:t> Company</a:t>
            </a:r>
            <a:r>
              <a:rPr sz="900" dirty="0">
                <a:solidFill>
                  <a:srgbClr val="555759">
                    <a:lumMod val="60000"/>
                    <a:lumOff val="40000"/>
                  </a:srgbClr>
                </a:solidFill>
              </a:rPr>
              <a:t> Consulting, Inc. All rights Reserved</a:t>
            </a:r>
          </a:p>
        </p:txBody>
      </p:sp>
      <p:sp>
        <p:nvSpPr>
          <p:cNvPr id="13" name="Text Placeholder 18"/>
          <p:cNvSpPr txBox="1">
            <a:spLocks/>
          </p:cNvSpPr>
          <p:nvPr userDrawn="1"/>
        </p:nvSpPr>
        <p:spPr>
          <a:xfrm>
            <a:off x="182020" y="6365442"/>
            <a:ext cx="824304" cy="210020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648C1A"/>
              </a:buClr>
            </a:pPr>
            <a:fld id="{C0D4A90D-707C-4CFA-8F87-17CF45DE2B45}" type="slidenum">
              <a:rPr sz="900" smtClean="0">
                <a:solidFill>
                  <a:srgbClr val="95D600"/>
                </a:solidFill>
              </a:rPr>
              <a:pPr>
                <a:buClr>
                  <a:srgbClr val="648C1A"/>
                </a:buClr>
              </a:pPr>
              <a:t>‹#›</a:t>
            </a:fld>
            <a:endParaRPr sz="900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281" y="6396705"/>
            <a:ext cx="1303209" cy="168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55577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3" r:id="rId1"/>
    <p:sldLayoutId id="2147483994" r:id="rId2"/>
    <p:sldLayoutId id="2147483995" r:id="rId3"/>
    <p:sldLayoutId id="2147483996" r:id="rId4"/>
    <p:sldLayoutId id="2147483997" r:id="rId5"/>
    <p:sldLayoutId id="2147483998" r:id="rId6"/>
    <p:sldLayoutId id="2147483999" r:id="rId7"/>
    <p:sldLayoutId id="2147484000" r:id="rId8"/>
    <p:sldLayoutId id="2147484001" r:id="rId9"/>
    <p:sldLayoutId id="2147484002" r:id="rId10"/>
    <p:sldLayoutId id="2147484003" r:id="rId11"/>
    <p:sldLayoutId id="2147484004" r:id="rId12"/>
    <p:sldLayoutId id="2147484005" r:id="rId13"/>
    <p:sldLayoutId id="2147484006" r:id="rId14"/>
  </p:sldLayoutIdLst>
  <p:hf sldNum="0" hdr="0" ftr="0"/>
  <p:txStyles>
    <p:titleStyle>
      <a:lvl1pPr marL="0" indent="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 lang="en-GB" altLang="ja-JP" sz="2200" b="0" kern="1200" cap="all" baseline="0" dirty="0" smtClean="0">
          <a:solidFill>
            <a:schemeClr val="bg2"/>
          </a:solidFill>
          <a:effectLst/>
          <a:latin typeface="+mn-lt"/>
          <a:ea typeface="+mj-ea"/>
          <a:cs typeface="+mj-cs"/>
          <a:sym typeface="+mj-lt"/>
        </a:defRPr>
      </a:lvl1pPr>
      <a:lvl2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6pPr>
      <a:lvl7pPr marL="914401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7pPr>
      <a:lvl8pPr marL="1371601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9pPr>
    </p:titleStyle>
    <p:bodyStyle>
      <a:lvl1pPr marL="180000" indent="-180000" algn="l" rtl="0" eaLnBrk="1" fontAlgn="base" hangingPunct="1">
        <a:spcBef>
          <a:spcPts val="700"/>
        </a:spcBef>
        <a:spcAft>
          <a:spcPts val="0"/>
        </a:spcAft>
        <a:buChar char="•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360000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–"/>
        <a:defRPr sz="1400" baseline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40000" indent="-179388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720000" indent="-179388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900000" indent="-180000" algn="l" rtl="0" eaLnBrk="1" fontAlgn="base" hangingPunct="1">
        <a:spcBef>
          <a:spcPts val="300"/>
        </a:spcBef>
        <a:spcAft>
          <a:spcPts val="0"/>
        </a:spcAft>
        <a:buFont typeface="Arial" panose="020B0604020202020204" pitchFamily="34" charset="0"/>
        <a:buChar char="-"/>
        <a:defRPr sz="140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1080000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 baseline="0">
          <a:solidFill>
            <a:schemeClr val="tx1"/>
          </a:solidFill>
          <a:latin typeface="+mn-lt"/>
          <a:cs typeface="+mn-cs"/>
        </a:defRPr>
      </a:lvl6pPr>
      <a:lvl7pPr marL="1260001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cs typeface="+mn-cs"/>
        </a:defRPr>
      </a:lvl7pPr>
      <a:lvl8pPr marL="1440001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>
          <a:solidFill>
            <a:schemeClr val="tx1"/>
          </a:solidFill>
          <a:latin typeface="+mn-lt"/>
          <a:cs typeface="+mn-cs"/>
        </a:defRPr>
      </a:lvl8pPr>
      <a:lvl9pPr marL="1620001" indent="-180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-"/>
        <a:defRPr sz="1400" baseline="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1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2" algn="l" defTabSz="914401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2" algn="l" defTabSz="9144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95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3887" userDrawn="1">
          <p15:clr>
            <a:srgbClr val="F26B43"/>
          </p15:clr>
        </p15:guide>
        <p15:guide id="4" pos="180" userDrawn="1">
          <p15:clr>
            <a:srgbClr val="F26B43"/>
          </p15:clr>
        </p15:guide>
        <p15:guide id="5" pos="7507" userDrawn="1">
          <p15:clr>
            <a:srgbClr val="F26B43"/>
          </p15:clr>
        </p15:guide>
        <p15:guide id="6" orient="horz" pos="240" userDrawn="1">
          <p15:clr>
            <a:srgbClr val="F26B43"/>
          </p15:clr>
        </p15:guide>
        <p15:guide id="7" pos="4027" userDrawn="1">
          <p15:clr>
            <a:srgbClr val="F26B43"/>
          </p15:clr>
        </p15:guide>
        <p15:guide id="8" pos="365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tags" Target="../tags/tag7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5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DC8D70F-1213-4F60-8AFF-3915161C0C3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9835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9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031054E-12E1-4F0E-955B-5C30830DF0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8A0246DF-CCA5-4A42-B823-FC95918B308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s-CO" dirty="0" err="1">
                <a:solidFill>
                  <a:schemeClr val="bg2"/>
                </a:solidFill>
              </a:rPr>
              <a:t>July</a:t>
            </a:r>
            <a:r>
              <a:rPr lang="es-CO" dirty="0">
                <a:solidFill>
                  <a:schemeClr val="bg2"/>
                </a:solidFill>
              </a:rPr>
              <a:t> 16, 2019</a:t>
            </a:r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0034444-9D7D-41D6-A891-3A8F8DA8008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solidFill>
                  <a:schemeClr val="bg2"/>
                </a:solidFill>
              </a:rPr>
              <a:t>Definition and advantages of RE competitive procurement</a:t>
            </a:r>
          </a:p>
        </p:txBody>
      </p:sp>
    </p:spTree>
    <p:extLst>
      <p:ext uri="{BB962C8B-B14F-4D97-AF65-F5344CB8AC3E}">
        <p14:creationId xmlns:p14="http://schemas.microsoft.com/office/powerpoint/2010/main" val="16625048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DAA488-327B-460F-92CC-EEDC4179AA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2</a:t>
            </a:fld>
            <a:endParaRPr lang="en-US" dirty="0"/>
          </a:p>
        </p:txBody>
      </p:sp>
      <p:grpSp>
        <p:nvGrpSpPr>
          <p:cNvPr id="12" name="Group 11" descr="competitive procurement graph">
            <a:extLst>
              <a:ext uri="{FF2B5EF4-FFF2-40B4-BE49-F238E27FC236}">
                <a16:creationId xmlns:a16="http://schemas.microsoft.com/office/drawing/2014/main" id="{EC36F734-8CA6-4A87-AF0E-84D3F3E9D71C}"/>
              </a:ext>
            </a:extLst>
          </p:cNvPr>
          <p:cNvGrpSpPr/>
          <p:nvPr/>
        </p:nvGrpSpPr>
        <p:grpSpPr>
          <a:xfrm>
            <a:off x="7386794" y="3352803"/>
            <a:ext cx="3128809" cy="2441377"/>
            <a:chOff x="5862791" y="3352800"/>
            <a:chExt cx="3128809" cy="2441377"/>
          </a:xfrm>
        </p:grpSpPr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8D5F359E-22AB-4922-97C3-07F588032539}"/>
                </a:ext>
              </a:extLst>
            </p:cNvPr>
            <p:cNvPicPr/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68486" y="3649678"/>
              <a:ext cx="2923114" cy="2144499"/>
            </a:xfrm>
            <a:prstGeom prst="rect">
              <a:avLst/>
            </a:prstGeom>
            <a:noFill/>
          </p:spPr>
        </p:pic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B62C43C4-2F1B-4FED-9EE7-51CF321402F6}"/>
                </a:ext>
              </a:extLst>
            </p:cNvPr>
            <p:cNvSpPr txBox="1"/>
            <p:nvPr/>
          </p:nvSpPr>
          <p:spPr>
            <a:xfrm>
              <a:off x="5862791" y="3352800"/>
              <a:ext cx="239217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>
                <a:defRPr/>
              </a:pPr>
              <a:r>
                <a:rPr lang="en-US" sz="1400" b="1" dirty="0">
                  <a:solidFill>
                    <a:srgbClr val="555759"/>
                  </a:solidFill>
                  <a:latin typeface="Arial" panose="020B0604020202020204"/>
                </a:rPr>
                <a:t>Competitive procurement</a:t>
              </a:r>
            </a:p>
          </p:txBody>
        </p:sp>
      </p:grpSp>
      <p:grpSp>
        <p:nvGrpSpPr>
          <p:cNvPr id="11" name="Group 10" descr="Negotiated procurement graph">
            <a:extLst>
              <a:ext uri="{FF2B5EF4-FFF2-40B4-BE49-F238E27FC236}">
                <a16:creationId xmlns:a16="http://schemas.microsoft.com/office/drawing/2014/main" id="{37A10BA0-D2E7-4998-8337-2E6EEB29FB95}"/>
              </a:ext>
            </a:extLst>
          </p:cNvPr>
          <p:cNvGrpSpPr/>
          <p:nvPr/>
        </p:nvGrpSpPr>
        <p:grpSpPr>
          <a:xfrm>
            <a:off x="4595974" y="3352803"/>
            <a:ext cx="2923114" cy="2441377"/>
            <a:chOff x="3071974" y="3352800"/>
            <a:chExt cx="2923114" cy="2441377"/>
          </a:xfrm>
        </p:grpSpPr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876FA66B-8B58-4176-8928-A0AD2B952EEF}"/>
                </a:ext>
              </a:extLst>
            </p:cNvPr>
            <p:cNvPicPr/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71974" y="3649678"/>
              <a:ext cx="2923114" cy="2144499"/>
            </a:xfrm>
            <a:prstGeom prst="rect">
              <a:avLst/>
            </a:prstGeom>
            <a:noFill/>
          </p:spPr>
        </p:pic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FC1AA5FD-0ABC-4565-ADDD-9C66DA0CAC21}"/>
                </a:ext>
              </a:extLst>
            </p:cNvPr>
            <p:cNvSpPr txBox="1"/>
            <p:nvPr/>
          </p:nvSpPr>
          <p:spPr>
            <a:xfrm>
              <a:off x="3278235" y="3352800"/>
              <a:ext cx="232093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>
                <a:defRPr/>
              </a:pPr>
              <a:r>
                <a:rPr lang="en-US" sz="1400" b="1" dirty="0">
                  <a:solidFill>
                    <a:srgbClr val="555759"/>
                  </a:solidFill>
                  <a:latin typeface="Arial" panose="020B0604020202020204"/>
                </a:rPr>
                <a:t>Negotiated procurement</a:t>
              </a:r>
            </a:p>
          </p:txBody>
        </p:sp>
      </p:grpSp>
      <p:grpSp>
        <p:nvGrpSpPr>
          <p:cNvPr id="10" name="Group 9" descr="Admin feed in tariff graph">
            <a:extLst>
              <a:ext uri="{FF2B5EF4-FFF2-40B4-BE49-F238E27FC236}">
                <a16:creationId xmlns:a16="http://schemas.microsoft.com/office/drawing/2014/main" id="{18AFA263-41E5-41FC-A6E2-9F3566691C14}"/>
              </a:ext>
            </a:extLst>
          </p:cNvPr>
          <p:cNvGrpSpPr/>
          <p:nvPr/>
        </p:nvGrpSpPr>
        <p:grpSpPr>
          <a:xfrm>
            <a:off x="1600200" y="3352803"/>
            <a:ext cx="2922376" cy="2440405"/>
            <a:chOff x="76200" y="3352800"/>
            <a:chExt cx="2922376" cy="2440405"/>
          </a:xfrm>
        </p:grpSpPr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BD852BF0-88D6-4D6D-BBB3-EE3FFD826E19}"/>
                </a:ext>
              </a:extLst>
            </p:cNvPr>
            <p:cNvPicPr/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200" y="3649679"/>
              <a:ext cx="2922376" cy="2143526"/>
            </a:xfrm>
            <a:prstGeom prst="rect">
              <a:avLst/>
            </a:prstGeom>
            <a:noFill/>
          </p:spPr>
        </p:pic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426CA0F5-A8B8-4EFD-886B-9B1C25D02673}"/>
                </a:ext>
              </a:extLst>
            </p:cNvPr>
            <p:cNvSpPr txBox="1"/>
            <p:nvPr/>
          </p:nvSpPr>
          <p:spPr>
            <a:xfrm>
              <a:off x="507558" y="3352800"/>
              <a:ext cx="232093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>
                <a:defRPr/>
              </a:pPr>
              <a:r>
                <a:rPr lang="en-US" sz="1400" b="1" dirty="0">
                  <a:solidFill>
                    <a:srgbClr val="555759"/>
                  </a:solidFill>
                  <a:latin typeface="Arial" panose="020B0604020202020204"/>
                </a:rPr>
                <a:t>Admin. Feed-in tariff</a:t>
              </a:r>
            </a:p>
          </p:txBody>
        </p:sp>
      </p:grpSp>
      <p:grpSp>
        <p:nvGrpSpPr>
          <p:cNvPr id="9" name="Group 8" descr="market based tariff setting, pointing to right side of the screen, beginning at admin feed in tariff and progressing to competitive procurement">
            <a:extLst>
              <a:ext uri="{FF2B5EF4-FFF2-40B4-BE49-F238E27FC236}">
                <a16:creationId xmlns:a16="http://schemas.microsoft.com/office/drawing/2014/main" id="{A4B49030-E39B-4FE3-A76C-81DB08E41087}"/>
              </a:ext>
            </a:extLst>
          </p:cNvPr>
          <p:cNvGrpSpPr/>
          <p:nvPr/>
        </p:nvGrpSpPr>
        <p:grpSpPr>
          <a:xfrm>
            <a:off x="3418968" y="2921922"/>
            <a:ext cx="5150841" cy="507081"/>
            <a:chOff x="1894965" y="2921919"/>
            <a:chExt cx="5150841" cy="507081"/>
          </a:xfrm>
        </p:grpSpPr>
        <p:sp>
          <p:nvSpPr>
            <p:cNvPr id="44" name="Arrow: Right 43">
              <a:extLst>
                <a:ext uri="{FF2B5EF4-FFF2-40B4-BE49-F238E27FC236}">
                  <a16:creationId xmlns:a16="http://schemas.microsoft.com/office/drawing/2014/main" id="{C05E82A8-B7BF-4D0A-980E-4DD6A2011CE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1894965" y="2921919"/>
              <a:ext cx="5150841" cy="507081"/>
            </a:xfrm>
            <a:prstGeom prst="rightArrow">
              <a:avLst/>
            </a:prstGeom>
            <a:solidFill>
              <a:schemeClr val="accent3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0C1FC4C3-8A25-4B38-8905-8664CEEE5C44}"/>
                </a:ext>
              </a:extLst>
            </p:cNvPr>
            <p:cNvSpPr txBox="1"/>
            <p:nvPr/>
          </p:nvSpPr>
          <p:spPr>
            <a:xfrm>
              <a:off x="3399661" y="3006664"/>
              <a:ext cx="269818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>
                <a:defRPr/>
              </a:pPr>
              <a:r>
                <a:rPr lang="en-US" sz="1400" b="1" i="1" dirty="0">
                  <a:solidFill>
                    <a:srgbClr val="FFFFFF"/>
                  </a:solidFill>
                  <a:latin typeface="Arial" panose="020B0604020202020204"/>
                </a:rPr>
                <a:t>Market-based tariff setting</a:t>
              </a:r>
            </a:p>
          </p:txBody>
        </p:sp>
      </p:grpSp>
      <p:sp>
        <p:nvSpPr>
          <p:cNvPr id="2" name="Content Placeholder 1" descr="&#10;">
            <a:extLst>
              <a:ext uri="{FF2B5EF4-FFF2-40B4-BE49-F238E27FC236}">
                <a16:creationId xmlns:a16="http://schemas.microsoft.com/office/drawing/2014/main" id="{AE50D012-B4F9-405C-B215-6C72A8AD0F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4400" y="1600200"/>
            <a:ext cx="10363200" cy="1025849"/>
          </a:xfrm>
        </p:spPr>
        <p:txBody>
          <a:bodyPr/>
          <a:lstStyle/>
          <a:p>
            <a:r>
              <a:rPr lang="en-US" dirty="0"/>
              <a:t>All serve and require different levels of renewable energy market maturity</a:t>
            </a:r>
          </a:p>
          <a:p>
            <a:r>
              <a:rPr lang="en-US" dirty="0"/>
              <a:t>All result in different reflection of market knowledg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42CAF0B-910E-4DA7-93B8-759FF731B4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 ways to determine RE tariffs: competitive procurement, negotiated procurement, admin. FITs</a:t>
            </a:r>
          </a:p>
        </p:txBody>
      </p:sp>
    </p:spTree>
    <p:extLst>
      <p:ext uri="{BB962C8B-B14F-4D97-AF65-F5344CB8AC3E}">
        <p14:creationId xmlns:p14="http://schemas.microsoft.com/office/powerpoint/2010/main" val="29737591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DAA488-327B-460F-92CC-EEDC4179AA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16" name="Picture 15" descr="Admin. feed-in tariffs provide high certainty for producers, but little volume control and price competition">
            <a:extLst>
              <a:ext uri="{FF2B5EF4-FFF2-40B4-BE49-F238E27FC236}">
                <a16:creationId xmlns:a16="http://schemas.microsoft.com/office/drawing/2014/main" id="{005A73E9-ABA4-4B00-8B3A-D292CD24A1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12712" y="2328507"/>
            <a:ext cx="4865293" cy="299303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7527FBEF-37E9-4C39-B490-8832480B2882}"/>
              </a:ext>
            </a:extLst>
          </p:cNvPr>
          <p:cNvSpPr txBox="1"/>
          <p:nvPr/>
        </p:nvSpPr>
        <p:spPr>
          <a:xfrm>
            <a:off x="914805" y="2133600"/>
            <a:ext cx="4646246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t"/>
            <a:r>
              <a:rPr lang="en-US" dirty="0">
                <a:solidFill>
                  <a:srgbClr val="00B050"/>
                </a:solidFill>
                <a:latin typeface="Gill Sans MT" panose="020B0502020104020203" pitchFamily="34" charset="0"/>
              </a:rPr>
              <a:t>Advantages</a:t>
            </a:r>
            <a:endParaRPr lang="en-US" sz="2000" dirty="0">
              <a:latin typeface="Arial" panose="020B0604020202020204" pitchFamily="34" charset="0"/>
            </a:endParaRPr>
          </a:p>
          <a:p>
            <a:pPr marL="285750" indent="-285750" fontAlgn="t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635C5B"/>
                </a:solidFill>
                <a:latin typeface="Gill Sans MT" panose="020B0502020104020203" pitchFamily="34" charset="0"/>
              </a:rPr>
              <a:t>Does not require intense competition for the mechanism to function properly. </a:t>
            </a:r>
          </a:p>
          <a:p>
            <a:pPr marL="285750" indent="-285750" fontAlgn="t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635C5B"/>
                </a:solidFill>
                <a:latin typeface="Gill Sans MT" panose="020B0502020104020203" pitchFamily="34" charset="0"/>
              </a:rPr>
              <a:t>Low risk for RE producers: access to the tariff is not restricted to the group of successful bidders. </a:t>
            </a:r>
          </a:p>
          <a:p>
            <a:pPr marL="285750" indent="-285750" fontAlgn="t">
              <a:buFont typeface="Arial" panose="020B0604020202020204" pitchFamily="34" charset="0"/>
              <a:buChar char="•"/>
            </a:pPr>
            <a:endParaRPr lang="en-US" dirty="0">
              <a:solidFill>
                <a:srgbClr val="635C5B"/>
              </a:solidFill>
              <a:latin typeface="Gill Sans MT" panose="020B0502020104020203" pitchFamily="34" charset="0"/>
            </a:endParaRPr>
          </a:p>
          <a:p>
            <a:pPr fontAlgn="t"/>
            <a:r>
              <a:rPr lang="en-US" dirty="0">
                <a:solidFill>
                  <a:srgbClr val="C00000"/>
                </a:solidFill>
                <a:latin typeface="Gill Sans MT" panose="020B0502020104020203" pitchFamily="34" charset="0"/>
              </a:rPr>
              <a:t>Disadvantages</a:t>
            </a:r>
            <a:endParaRPr lang="en-US" sz="2000" dirty="0">
              <a:latin typeface="Arial" panose="020B0604020202020204" pitchFamily="34" charset="0"/>
            </a:endParaRPr>
          </a:p>
          <a:p>
            <a:pPr marL="285750" indent="-285750" fontAlgn="t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635C5B"/>
                </a:solidFill>
                <a:latin typeface="Gill Sans MT" panose="020B0502020104020203" pitchFamily="34" charset="0"/>
              </a:rPr>
              <a:t>Low volume control unless FIT has budget/capacity cap.</a:t>
            </a:r>
            <a:endParaRPr lang="en-US" sz="2000" dirty="0">
              <a:latin typeface="Arial" panose="020B0604020202020204" pitchFamily="34" charset="0"/>
            </a:endParaRPr>
          </a:p>
          <a:p>
            <a:pPr marL="285750" indent="-285750" fontAlgn="t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635C5B"/>
                </a:solidFill>
                <a:latin typeface="Gill Sans MT" panose="020B0502020104020203" pitchFamily="34" charset="0"/>
              </a:rPr>
              <a:t>Slow in reacting to market price changes.</a:t>
            </a:r>
            <a:endParaRPr lang="en-US" sz="2000" dirty="0">
              <a:latin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42CAF0B-910E-4DA7-93B8-759FF731B4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min. feed-in tariffs provide high certainty for producers, but little volume control and price competition</a:t>
            </a:r>
          </a:p>
        </p:txBody>
      </p:sp>
    </p:spTree>
    <p:extLst>
      <p:ext uri="{BB962C8B-B14F-4D97-AF65-F5344CB8AC3E}">
        <p14:creationId xmlns:p14="http://schemas.microsoft.com/office/powerpoint/2010/main" val="19887352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DAA488-327B-460F-92CC-EEDC4179AA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20" name="Picture 19" descr="Negotiated procurement provides flexibility, but less scalable and transparent">
            <a:extLst>
              <a:ext uri="{FF2B5EF4-FFF2-40B4-BE49-F238E27FC236}">
                <a16:creationId xmlns:a16="http://schemas.microsoft.com/office/drawing/2014/main" id="{7ED0D163-9244-42B7-A767-A977811075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67400" y="2125880"/>
            <a:ext cx="5177459" cy="3519153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685F390C-3311-4488-9490-94A593BA0AD3}"/>
              </a:ext>
            </a:extLst>
          </p:cNvPr>
          <p:cNvSpPr txBox="1"/>
          <p:nvPr/>
        </p:nvSpPr>
        <p:spPr>
          <a:xfrm>
            <a:off x="925956" y="2008525"/>
            <a:ext cx="4564585" cy="4001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t"/>
            <a:r>
              <a:rPr lang="en-US" dirty="0">
                <a:solidFill>
                  <a:srgbClr val="00B050"/>
                </a:solidFill>
                <a:latin typeface="Gill Sans MT" panose="020B0502020104020203" pitchFamily="34" charset="0"/>
              </a:rPr>
              <a:t>Advantages</a:t>
            </a:r>
            <a:endParaRPr lang="en-US" sz="2000" dirty="0"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635C5B"/>
                </a:solidFill>
              </a:rPr>
              <a:t>Volume control and greater flexibility to tailor projects to need than auc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635C5B"/>
                </a:solidFill>
              </a:rPr>
              <a:t>Some competition in pricing but lower than in auction.</a:t>
            </a:r>
          </a:p>
          <a:p>
            <a:pPr marL="283464" indent="-283464" fontAlgn="t"/>
            <a:endParaRPr lang="en-US" sz="2000" dirty="0">
              <a:latin typeface="Arial" panose="020B0604020202020204" pitchFamily="34" charset="0"/>
            </a:endParaRPr>
          </a:p>
          <a:p>
            <a:pPr fontAlgn="t"/>
            <a:r>
              <a:rPr lang="en-US" dirty="0">
                <a:solidFill>
                  <a:srgbClr val="C00000"/>
                </a:solidFill>
                <a:latin typeface="Gill Sans MT" panose="020B0502020104020203" pitchFamily="34" charset="0"/>
              </a:rPr>
              <a:t>Disadvantages</a:t>
            </a:r>
            <a:endParaRPr lang="en-US" sz="2000" dirty="0">
              <a:latin typeface="Arial" panose="020B060402020202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rgbClr val="635C5B"/>
                </a:solidFill>
              </a:rPr>
              <a:t>Difficult to scale if many bidders are present.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rgbClr val="635C5B"/>
                </a:solidFill>
              </a:rPr>
              <a:t>Risk of delayed project execution due to negotiation stage  prices no longer reflective of current market conditions. 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rgbClr val="635C5B"/>
                </a:solidFill>
              </a:rPr>
              <a:t>Limited transparency in selection process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endParaRPr lang="en-US" dirty="0">
              <a:solidFill>
                <a:srgbClr val="635C5B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42CAF0B-910E-4DA7-93B8-759FF731B4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gotiated procurement provides greater flexibility, but are less scalable and transparent</a:t>
            </a:r>
          </a:p>
        </p:txBody>
      </p:sp>
    </p:spTree>
    <p:extLst>
      <p:ext uri="{BB962C8B-B14F-4D97-AF65-F5344CB8AC3E}">
        <p14:creationId xmlns:p14="http://schemas.microsoft.com/office/powerpoint/2010/main" val="10724949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DAA488-327B-460F-92CC-EEDC4179AA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17" name="Picture 16" descr="Competitive procurement provides strong volume control, price pressure and scalability, but needs competition">
            <a:extLst>
              <a:ext uri="{FF2B5EF4-FFF2-40B4-BE49-F238E27FC236}">
                <a16:creationId xmlns:a16="http://schemas.microsoft.com/office/drawing/2014/main" id="{65CFFD16-6092-42AB-B6C9-6040CDE773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24600" y="3077553"/>
            <a:ext cx="5331282" cy="3443381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EBD75987-BD0B-4192-B630-40638E9B32C9}"/>
              </a:ext>
            </a:extLst>
          </p:cNvPr>
          <p:cNvSpPr txBox="1"/>
          <p:nvPr/>
        </p:nvSpPr>
        <p:spPr>
          <a:xfrm>
            <a:off x="1053790" y="2993409"/>
            <a:ext cx="5270810" cy="34470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t"/>
            <a:r>
              <a:rPr lang="en-US" dirty="0">
                <a:solidFill>
                  <a:srgbClr val="00B050"/>
                </a:solidFill>
                <a:latin typeface="Gill Sans MT" panose="020B0502020104020203" pitchFamily="34" charset="0"/>
              </a:rPr>
              <a:t>Advantages</a:t>
            </a:r>
            <a:endParaRPr lang="en-US" sz="2000" dirty="0"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635C5B"/>
                </a:solidFill>
              </a:rPr>
              <a:t>Volume contro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635C5B"/>
                </a:solidFill>
              </a:rPr>
              <a:t>Competitive prici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635C5B"/>
                </a:solidFill>
              </a:rPr>
              <a:t>Faster project execution after award than in negotiated procuremen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635C5B"/>
                </a:solidFill>
              </a:rPr>
              <a:t>Easier to scale up for multiple projects and rounds.</a:t>
            </a:r>
          </a:p>
          <a:p>
            <a:pPr marL="283464" indent="-283464" fontAlgn="t"/>
            <a:endParaRPr lang="en-US" sz="2000" dirty="0">
              <a:latin typeface="Arial" panose="020B0604020202020204" pitchFamily="34" charset="0"/>
            </a:endParaRPr>
          </a:p>
          <a:p>
            <a:pPr fontAlgn="t"/>
            <a:r>
              <a:rPr lang="en-US" dirty="0">
                <a:solidFill>
                  <a:srgbClr val="C00000"/>
                </a:solidFill>
                <a:latin typeface="Gill Sans MT" panose="020B0502020104020203" pitchFamily="34" charset="0"/>
              </a:rPr>
              <a:t>Disadvantages</a:t>
            </a:r>
            <a:endParaRPr lang="en-US" sz="2000" dirty="0"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635C5B"/>
                </a:solidFill>
              </a:rPr>
              <a:t>Requires competition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635C5B"/>
                </a:solidFill>
              </a:rPr>
              <a:t>Bidders face risk of not being awarded and sunk cost of project predevelopmen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635C5B"/>
                </a:solidFill>
              </a:rPr>
              <a:t>Risk of underbidding and project non-completion.</a:t>
            </a: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2FF80083-F76F-4745-BBE2-90BE36EE88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2665578"/>
              </p:ext>
            </p:extLst>
          </p:nvPr>
        </p:nvGraphicFramePr>
        <p:xfrm>
          <a:off x="1066800" y="1651159"/>
          <a:ext cx="9829800" cy="8686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295400">
                  <a:extLst>
                    <a:ext uri="{9D8B030D-6E8A-4147-A177-3AD203B41FA5}">
                      <a16:colId xmlns:a16="http://schemas.microsoft.com/office/drawing/2014/main" val="2254690982"/>
                    </a:ext>
                  </a:extLst>
                </a:gridCol>
                <a:gridCol w="8534400">
                  <a:extLst>
                    <a:ext uri="{9D8B030D-6E8A-4147-A177-3AD203B41FA5}">
                      <a16:colId xmlns:a16="http://schemas.microsoft.com/office/drawing/2014/main" val="3620533044"/>
                    </a:ext>
                  </a:extLst>
                </a:gridCol>
              </a:tblGrid>
              <a:tr h="740433">
                <a:tc>
                  <a:txBody>
                    <a:bodyPr/>
                    <a:lstStyle/>
                    <a:p>
                      <a:r>
                        <a:rPr lang="en-IN" sz="1700" b="0" noProof="0" dirty="0">
                          <a:solidFill>
                            <a:schemeClr val="bg1"/>
                          </a:solidFill>
                        </a:rPr>
                        <a:t>Definition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700" b="0" noProof="0" dirty="0">
                          <a:solidFill>
                            <a:srgbClr val="635C5B"/>
                          </a:solidFill>
                        </a:rPr>
                        <a:t>Process for procuring RE electricity designed to </a:t>
                      </a:r>
                      <a:r>
                        <a:rPr lang="en-US" sz="1700" b="1" noProof="0" dirty="0">
                          <a:solidFill>
                            <a:srgbClr val="635C5B"/>
                          </a:solidFill>
                        </a:rPr>
                        <a:t>allocate</a:t>
                      </a:r>
                      <a:r>
                        <a:rPr lang="en-US" sz="1700" b="0" noProof="0" dirty="0">
                          <a:solidFill>
                            <a:srgbClr val="635C5B"/>
                          </a:solidFill>
                        </a:rPr>
                        <a:t> a </a:t>
                      </a:r>
                      <a:r>
                        <a:rPr lang="en-US" sz="1700" b="1" noProof="0" dirty="0">
                          <a:solidFill>
                            <a:srgbClr val="635C5B"/>
                          </a:solidFill>
                        </a:rPr>
                        <a:t>supply contract or incentive</a:t>
                      </a:r>
                      <a:r>
                        <a:rPr lang="en-US" sz="1700" b="0" noProof="0" dirty="0">
                          <a:solidFill>
                            <a:srgbClr val="635C5B"/>
                          </a:solidFill>
                        </a:rPr>
                        <a:t> based solely on the </a:t>
                      </a:r>
                      <a:r>
                        <a:rPr lang="en-US" sz="1700" b="1" noProof="0" dirty="0">
                          <a:solidFill>
                            <a:srgbClr val="635C5B"/>
                          </a:solidFill>
                        </a:rPr>
                        <a:t>bids</a:t>
                      </a:r>
                      <a:r>
                        <a:rPr lang="en-US" sz="1700" b="0" noProof="0" dirty="0">
                          <a:solidFill>
                            <a:srgbClr val="635C5B"/>
                          </a:solidFill>
                        </a:rPr>
                        <a:t> submitted by the participating bidders according to </a:t>
                      </a:r>
                      <a:r>
                        <a:rPr lang="en-US" sz="1700" b="1" noProof="0" dirty="0">
                          <a:solidFill>
                            <a:srgbClr val="635C5B"/>
                          </a:solidFill>
                        </a:rPr>
                        <a:t>transparent awarding rules</a:t>
                      </a:r>
                      <a:r>
                        <a:rPr lang="en-US" sz="1700" b="0" noProof="0" dirty="0">
                          <a:solidFill>
                            <a:srgbClr val="635C5B"/>
                          </a:solidFill>
                        </a:rPr>
                        <a:t>. </a:t>
                      </a:r>
                    </a:p>
                  </a:txBody>
                  <a:tcPr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87554282"/>
                  </a:ext>
                </a:extLst>
              </a:tr>
            </a:tbl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842CAF0B-910E-4DA7-93B8-759FF731B4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805" y="417493"/>
            <a:ext cx="10363200" cy="954107"/>
          </a:xfrm>
        </p:spPr>
        <p:txBody>
          <a:bodyPr/>
          <a:lstStyle/>
          <a:p>
            <a:r>
              <a:rPr lang="en-US" dirty="0"/>
              <a:t>Competitive procurement provides strong volume control, price pressure and scalability, but needs competition</a:t>
            </a:r>
          </a:p>
        </p:txBody>
      </p:sp>
    </p:spTree>
    <p:extLst>
      <p:ext uri="{BB962C8B-B14F-4D97-AF65-F5344CB8AC3E}">
        <p14:creationId xmlns:p14="http://schemas.microsoft.com/office/powerpoint/2010/main" val="19216071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DAA488-327B-460F-92CC-EEDC4179AA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6</a:t>
            </a:fld>
            <a:endParaRPr lang="en-US" dirty="0"/>
          </a:p>
        </p:txBody>
      </p:sp>
      <p:grpSp>
        <p:nvGrpSpPr>
          <p:cNvPr id="22" name="Group 21" descr="Administratively-set feed-in tariff">
            <a:extLst>
              <a:ext uri="{FF2B5EF4-FFF2-40B4-BE49-F238E27FC236}">
                <a16:creationId xmlns:a16="http://schemas.microsoft.com/office/drawing/2014/main" id="{E0945B75-6702-4191-BE46-DA00D827D9F6}"/>
              </a:ext>
            </a:extLst>
          </p:cNvPr>
          <p:cNvGrpSpPr/>
          <p:nvPr/>
        </p:nvGrpSpPr>
        <p:grpSpPr>
          <a:xfrm>
            <a:off x="7131067" y="2375326"/>
            <a:ext cx="4252883" cy="3561419"/>
            <a:chOff x="7051447" y="1037495"/>
            <a:chExt cx="2984997" cy="2499675"/>
          </a:xfrm>
        </p:grpSpPr>
        <p:pic>
          <p:nvPicPr>
            <p:cNvPr id="15" name="Picture 14" descr="Admin feed in tariff bar graph, for realized and non realized projects">
              <a:extLst>
                <a:ext uri="{FF2B5EF4-FFF2-40B4-BE49-F238E27FC236}">
                  <a16:creationId xmlns:a16="http://schemas.microsoft.com/office/drawing/2014/main" id="{020A5A74-F350-4C6E-B285-AD5C62A70507}"/>
                </a:ext>
              </a:extLst>
            </p:cNvPr>
            <p:cNvPicPr/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51447" y="1393644"/>
              <a:ext cx="2922376" cy="2143526"/>
            </a:xfrm>
            <a:prstGeom prst="rect">
              <a:avLst/>
            </a:prstGeom>
            <a:noFill/>
          </p:spPr>
        </p:pic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F1B1922-1E88-4244-BEB5-7AA648BFC9B5}"/>
                </a:ext>
              </a:extLst>
            </p:cNvPr>
            <p:cNvSpPr txBox="1"/>
            <p:nvPr/>
          </p:nvSpPr>
          <p:spPr>
            <a:xfrm>
              <a:off x="7715514" y="1037495"/>
              <a:ext cx="232093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>
                <a:defRPr/>
              </a:pPr>
              <a:r>
                <a:rPr lang="en-US" sz="1400" b="1" dirty="0">
                  <a:solidFill>
                    <a:srgbClr val="555759"/>
                  </a:solidFill>
                  <a:latin typeface="Arial" panose="020B0604020202020204"/>
                </a:rPr>
                <a:t>Admin. feed-in tariff</a:t>
              </a:r>
            </a:p>
          </p:txBody>
        </p:sp>
      </p:grpSp>
      <p:sp>
        <p:nvSpPr>
          <p:cNvPr id="21" name="Arrow: Right 20">
            <a:extLst>
              <a:ext uri="{FF2B5EF4-FFF2-40B4-BE49-F238E27FC236}">
                <a16:creationId xmlns:a16="http://schemas.microsoft.com/office/drawing/2014/main" id="{F4AC6E5D-F207-493B-AF1A-BC20FAC496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369822" y="2258122"/>
            <a:ext cx="870173" cy="468332"/>
          </a:xfrm>
          <a:prstGeom prst="rightArrow">
            <a:avLst/>
          </a:prstGeom>
          <a:solidFill>
            <a:srgbClr val="00B05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E50D012-B4F9-405C-B215-6C72A8AD0F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97268" y="2286000"/>
            <a:ext cx="4343400" cy="3556456"/>
          </a:xfrm>
        </p:spPr>
        <p:txBody>
          <a:bodyPr/>
          <a:lstStyle/>
          <a:p>
            <a:pPr marL="0" indent="0">
              <a:buNone/>
            </a:pPr>
            <a:r>
              <a:rPr lang="en-US" b="1" dirty="0"/>
              <a:t>No. </a:t>
            </a:r>
          </a:p>
          <a:p>
            <a:r>
              <a:rPr lang="en-US" dirty="0"/>
              <a:t>Less mature technologies or small-scale generators with difficulties managing risk/transaction costs from participating in an auction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42CAF0B-910E-4DA7-93B8-759FF731B4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… is competitive procurement always the best fit?</a:t>
            </a:r>
          </a:p>
        </p:txBody>
      </p:sp>
    </p:spTree>
    <p:extLst>
      <p:ext uri="{BB962C8B-B14F-4D97-AF65-F5344CB8AC3E}">
        <p14:creationId xmlns:p14="http://schemas.microsoft.com/office/powerpoint/2010/main" val="14617685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DAA488-327B-460F-92CC-EEDC4179AA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7</a:t>
            </a:fld>
            <a:endParaRPr lang="en-US" dirty="0"/>
          </a:p>
        </p:txBody>
      </p:sp>
      <p:grpSp>
        <p:nvGrpSpPr>
          <p:cNvPr id="29" name="Group 28" descr="Competitive procurement">
            <a:extLst>
              <a:ext uri="{FF2B5EF4-FFF2-40B4-BE49-F238E27FC236}">
                <a16:creationId xmlns:a16="http://schemas.microsoft.com/office/drawing/2014/main" id="{13911325-E0F8-4A40-B098-A85B81310725}"/>
              </a:ext>
            </a:extLst>
          </p:cNvPr>
          <p:cNvGrpSpPr/>
          <p:nvPr/>
        </p:nvGrpSpPr>
        <p:grpSpPr>
          <a:xfrm>
            <a:off x="6660995" y="2096330"/>
            <a:ext cx="4419600" cy="3733279"/>
            <a:chOff x="6196912" y="4247319"/>
            <a:chExt cx="2923114" cy="2469183"/>
          </a:xfrm>
        </p:grpSpPr>
        <p:pic>
          <p:nvPicPr>
            <p:cNvPr id="17" name="Picture 16" descr="competitive procurement graph for awarded and non awarded bids">
              <a:extLst>
                <a:ext uri="{FF2B5EF4-FFF2-40B4-BE49-F238E27FC236}">
                  <a16:creationId xmlns:a16="http://schemas.microsoft.com/office/drawing/2014/main" id="{EFAFCCF4-2A84-46DA-9A52-59817AD26D18}"/>
                </a:ext>
              </a:extLst>
            </p:cNvPr>
            <p:cNvPicPr/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96912" y="4572003"/>
              <a:ext cx="2923114" cy="2144499"/>
            </a:xfrm>
            <a:prstGeom prst="rect">
              <a:avLst/>
            </a:prstGeom>
            <a:noFill/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EBFFBE08-B3C1-409A-8902-9190D4ABD5AC}"/>
                </a:ext>
              </a:extLst>
            </p:cNvPr>
            <p:cNvSpPr txBox="1"/>
            <p:nvPr/>
          </p:nvSpPr>
          <p:spPr>
            <a:xfrm>
              <a:off x="6396432" y="4247319"/>
              <a:ext cx="239217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>
                <a:defRPr/>
              </a:pPr>
              <a:r>
                <a:rPr lang="en-US" sz="1400" b="1" dirty="0">
                  <a:solidFill>
                    <a:srgbClr val="555759"/>
                  </a:solidFill>
                  <a:latin typeface="Arial" panose="020B0604020202020204"/>
                </a:rPr>
                <a:t>Competitive procurement</a:t>
              </a:r>
            </a:p>
          </p:txBody>
        </p:sp>
      </p:grpSp>
      <p:sp>
        <p:nvSpPr>
          <p:cNvPr id="24" name="Content Placeholder 1">
            <a:extLst>
              <a:ext uri="{FF2B5EF4-FFF2-40B4-BE49-F238E27FC236}">
                <a16:creationId xmlns:a16="http://schemas.microsoft.com/office/drawing/2014/main" id="{1EFC1E43-14C9-42B3-9DFA-DA378F7ACBFC}"/>
              </a:ext>
            </a:extLst>
          </p:cNvPr>
          <p:cNvSpPr txBox="1">
            <a:spLocks/>
          </p:cNvSpPr>
          <p:nvPr/>
        </p:nvSpPr>
        <p:spPr>
          <a:xfrm>
            <a:off x="1143000" y="2329001"/>
            <a:ext cx="4183053" cy="29865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30188" indent="-230188" algn="l" defTabSz="457200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Char char="•"/>
              <a:defRPr sz="2000" b="0" i="0" kern="1200">
                <a:solidFill>
                  <a:srgbClr val="635C5B"/>
                </a:solidFill>
                <a:latin typeface="Gill Sans MT"/>
                <a:ea typeface="+mn-ea"/>
                <a:cs typeface="Gill Sans MT"/>
              </a:defRPr>
            </a:lvl1pPr>
            <a:lvl2pPr marL="684213" indent="-230188" algn="l" defTabSz="457200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Char char="–"/>
              <a:defRPr sz="2000" b="0" i="0" kern="1200">
                <a:solidFill>
                  <a:srgbClr val="635C5B"/>
                </a:solidFill>
                <a:latin typeface="Gill Sans MT"/>
                <a:ea typeface="+mn-ea"/>
                <a:cs typeface="Gill Sans MT"/>
              </a:defRPr>
            </a:lvl2pPr>
            <a:lvl3pPr marL="914400" indent="-230188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3pPr>
            <a:lvl4pPr marL="1146175" indent="-231775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4pPr>
            <a:lvl5pPr marL="1255713" indent="-230188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None/>
            </a:pPr>
            <a:r>
              <a:rPr lang="en-US" b="1" dirty="0"/>
              <a:t>Yes.</a:t>
            </a:r>
          </a:p>
          <a:p>
            <a:pPr>
              <a:spcAft>
                <a:spcPts val="0"/>
              </a:spcAft>
            </a:pPr>
            <a:r>
              <a:rPr lang="en-US" dirty="0"/>
              <a:t>Formal participation and award criteria reduces the room for discretionary judgment calls in the process. </a:t>
            </a:r>
          </a:p>
          <a:p>
            <a:pPr>
              <a:spcAft>
                <a:spcPts val="0"/>
              </a:spcAft>
            </a:pPr>
            <a:r>
              <a:rPr lang="en-US" dirty="0"/>
              <a:t>Challenges in and to the process of negotiated procurement are not uncommon </a:t>
            </a:r>
            <a:r>
              <a:rPr lang="en-US" dirty="0">
                <a:sym typeface="Wingdings" panose="05000000000000000000" pitchFamily="2" charset="2"/>
              </a:rPr>
              <a:t> causes delays in the process</a:t>
            </a:r>
            <a:endParaRPr lang="en-US" dirty="0"/>
          </a:p>
        </p:txBody>
      </p:sp>
      <p:sp>
        <p:nvSpPr>
          <p:cNvPr id="26" name="Title 25">
            <a:extLst>
              <a:ext uri="{FF2B5EF4-FFF2-40B4-BE49-F238E27FC236}">
                <a16:creationId xmlns:a16="http://schemas.microsoft.com/office/drawing/2014/main" id="{E55434B9-C54C-49E0-B622-EE79CCA868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805" y="848380"/>
            <a:ext cx="10363200" cy="523220"/>
          </a:xfrm>
        </p:spPr>
        <p:txBody>
          <a:bodyPr/>
          <a:lstStyle/>
          <a:p>
            <a:r>
              <a:rPr lang="en-US" dirty="0"/>
              <a:t>… can competitive procurement be implemented in small RE markets?</a:t>
            </a:r>
          </a:p>
        </p:txBody>
      </p:sp>
    </p:spTree>
    <p:extLst>
      <p:ext uri="{BB962C8B-B14F-4D97-AF65-F5344CB8AC3E}">
        <p14:creationId xmlns:p14="http://schemas.microsoft.com/office/powerpoint/2010/main" val="11981986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DAA488-327B-460F-92CC-EEDC4179AA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8</a:t>
            </a:fld>
            <a:endParaRPr lang="en-US" dirty="0"/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FBCE84A7-978D-4370-B628-48C9FD6C391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6504267"/>
              </p:ext>
            </p:extLst>
          </p:nvPr>
        </p:nvGraphicFramePr>
        <p:xfrm>
          <a:off x="985156" y="3129997"/>
          <a:ext cx="10200366" cy="29718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88720">
                  <a:extLst>
                    <a:ext uri="{9D8B030D-6E8A-4147-A177-3AD203B41FA5}">
                      <a16:colId xmlns:a16="http://schemas.microsoft.com/office/drawing/2014/main" val="2254690982"/>
                    </a:ext>
                  </a:extLst>
                </a:gridCol>
                <a:gridCol w="9011646">
                  <a:extLst>
                    <a:ext uri="{9D8B030D-6E8A-4147-A177-3AD203B41FA5}">
                      <a16:colId xmlns:a16="http://schemas.microsoft.com/office/drawing/2014/main" val="362053304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800" b="0" noProof="0" dirty="0">
                          <a:solidFill>
                            <a:schemeClr val="accent6"/>
                          </a:solidFill>
                        </a:rPr>
                        <a:t>Nigeria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de-DE" sz="1700" b="0" noProof="0" dirty="0">
                          <a:solidFill>
                            <a:srgbClr val="635C5B"/>
                          </a:solidFill>
                        </a:rPr>
                        <a:t>P</a:t>
                      </a:r>
                      <a:r>
                        <a:rPr lang="en-US" sz="1700" b="0" noProof="0" dirty="0">
                          <a:solidFill>
                            <a:srgbClr val="635C5B"/>
                          </a:solidFill>
                        </a:rPr>
                        <a:t>rice negotiations for more than 5 years with 8 solar IPPs. No defined timeline for commissioning.</a:t>
                      </a:r>
                    </a:p>
                  </a:txBody>
                  <a:tcPr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227376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IN" sz="1800" b="0" noProof="0" dirty="0">
                          <a:solidFill>
                            <a:schemeClr val="accent6"/>
                          </a:solidFill>
                        </a:rPr>
                        <a:t>Pakistan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700" b="0" noProof="0" dirty="0">
                          <a:solidFill>
                            <a:srgbClr val="635C5B"/>
                          </a:solidFill>
                        </a:rPr>
                        <a:t>Termination of 11 out of 19 contracts (3,400 MW) on alleged corruption/technical grounds.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700" b="0" noProof="0" dirty="0">
                          <a:solidFill>
                            <a:srgbClr val="635C5B"/>
                          </a:solidFill>
                        </a:rPr>
                        <a:t>After 3-year period of negotiations, and facing mounting arrears owed to the IPPs, government defaulted on its obligations.</a:t>
                      </a:r>
                    </a:p>
                  </a:txBody>
                  <a:tcPr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8755428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IN" sz="1800" b="0" noProof="0" dirty="0">
                          <a:solidFill>
                            <a:schemeClr val="accent6"/>
                          </a:solidFill>
                        </a:rPr>
                        <a:t>India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700" b="0" noProof="0" dirty="0">
                          <a:solidFill>
                            <a:srgbClr val="635C5B"/>
                          </a:solidFill>
                        </a:rPr>
                        <a:t>Enron’s $2.9 billion 2,184 MW </a:t>
                      </a:r>
                      <a:r>
                        <a:rPr lang="en-US" sz="1700" b="0" noProof="0" dirty="0" err="1">
                          <a:solidFill>
                            <a:srgbClr val="635C5B"/>
                          </a:solidFill>
                        </a:rPr>
                        <a:t>Dhabol</a:t>
                      </a:r>
                      <a:r>
                        <a:rPr lang="en-US" sz="1700" b="0" noProof="0" dirty="0">
                          <a:solidFill>
                            <a:srgbClr val="635C5B"/>
                          </a:solidFill>
                        </a:rPr>
                        <a:t> IPP in Maharashtra.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700" b="0" noProof="0" dirty="0">
                          <a:solidFill>
                            <a:srgbClr val="635C5B"/>
                          </a:solidFill>
                        </a:rPr>
                        <a:t>The project was renegotiated while in operation, mothballed for several years during arbitration, and eventually sold to new investors. Allegations made about corruption and excessive costs</a:t>
                      </a:r>
                    </a:p>
                  </a:txBody>
                  <a:tcPr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6910865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IN" sz="1800" b="0" noProof="0" dirty="0">
                          <a:solidFill>
                            <a:schemeClr val="accent6"/>
                          </a:solidFill>
                        </a:rPr>
                        <a:t>Indonesia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700" b="0" noProof="0" dirty="0">
                          <a:solidFill>
                            <a:srgbClr val="635C5B"/>
                          </a:solidFill>
                        </a:rPr>
                        <a:t>PT </a:t>
                      </a:r>
                      <a:r>
                        <a:rPr lang="en-US" sz="1700" b="0" noProof="0" dirty="0" err="1">
                          <a:solidFill>
                            <a:srgbClr val="635C5B"/>
                          </a:solidFill>
                        </a:rPr>
                        <a:t>Paiton’s</a:t>
                      </a:r>
                      <a:r>
                        <a:rPr lang="en-US" sz="1700" b="0" noProof="0" dirty="0">
                          <a:solidFill>
                            <a:srgbClr val="635C5B"/>
                          </a:solidFill>
                        </a:rPr>
                        <a:t> $2.7 billion 1,230 MW IPP in Java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700" b="0" noProof="0" dirty="0">
                          <a:solidFill>
                            <a:srgbClr val="635C5B"/>
                          </a:solidFill>
                        </a:rPr>
                        <a:t>Law suits and renegotiations in 1991-2001 after plant was commissioned.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700" b="0" noProof="0" dirty="0">
                          <a:solidFill>
                            <a:srgbClr val="635C5B"/>
                          </a:solidFill>
                        </a:rPr>
                        <a:t>Allegations: overpriced electricity + free project equity to members of the President Suharto’s family. </a:t>
                      </a:r>
                    </a:p>
                  </a:txBody>
                  <a:tcPr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29513760"/>
                  </a:ext>
                </a:extLst>
              </a:tr>
            </a:tbl>
          </a:graphicData>
        </a:graphic>
      </p:graphicFrame>
      <p:sp>
        <p:nvSpPr>
          <p:cNvPr id="19" name="Content Placeholder 1">
            <a:extLst>
              <a:ext uri="{FF2B5EF4-FFF2-40B4-BE49-F238E27FC236}">
                <a16:creationId xmlns:a16="http://schemas.microsoft.com/office/drawing/2014/main" id="{D9FF8EAD-26F1-476B-B22F-3154C11F18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4400" y="1600200"/>
            <a:ext cx="10363200" cy="1529797"/>
          </a:xfrm>
        </p:spPr>
        <p:txBody>
          <a:bodyPr/>
          <a:lstStyle/>
          <a:p>
            <a:r>
              <a:rPr lang="en-US" dirty="0"/>
              <a:t>Limited pressure for developers to offer the lowest acceptable price for power</a:t>
            </a:r>
          </a:p>
          <a:p>
            <a:r>
              <a:rPr lang="en-US" dirty="0"/>
              <a:t>Opportunities for corruption.</a:t>
            </a:r>
          </a:p>
          <a:p>
            <a:r>
              <a:rPr lang="en-US" dirty="0"/>
              <a:t>Inclusion of negotiated project terms adverse to the </a:t>
            </a:r>
            <a:r>
              <a:rPr lang="en-US" dirty="0" err="1"/>
              <a:t>offtaker’s</a:t>
            </a:r>
            <a:r>
              <a:rPr lang="en-US" dirty="0"/>
              <a:t> interest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42CAF0B-910E-4DA7-93B8-759FF731B4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untry examples show negotiated procurement can pose problems</a:t>
            </a:r>
          </a:p>
        </p:txBody>
      </p:sp>
    </p:spTree>
    <p:extLst>
      <p:ext uri="{BB962C8B-B14F-4D97-AF65-F5344CB8AC3E}">
        <p14:creationId xmlns:p14="http://schemas.microsoft.com/office/powerpoint/2010/main" val="17668696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DAA488-327B-460F-92CC-EEDC4179AA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2782948-4DBE-204D-AB9E-B65E067054AE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E50D012-B4F9-405C-B215-6C72A8AD0F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ontract the least-cost renewable energy projects possible</a:t>
            </a:r>
          </a:p>
          <a:p>
            <a:r>
              <a:rPr lang="en-US" dirty="0"/>
              <a:t>Allocate available funding efficiently</a:t>
            </a:r>
          </a:p>
          <a:p>
            <a:r>
              <a:rPr lang="en-US" dirty="0"/>
              <a:t>Create attractive investment conditions</a:t>
            </a:r>
          </a:p>
          <a:p>
            <a:r>
              <a:rPr lang="en-US" dirty="0"/>
              <a:t>Reliably achieve renewable energy target</a:t>
            </a:r>
          </a:p>
          <a:p>
            <a:r>
              <a:rPr lang="en-US" dirty="0"/>
              <a:t>Optional: achieve other policy goals such as </a:t>
            </a:r>
          </a:p>
          <a:p>
            <a:pPr lvl="1"/>
            <a:r>
              <a:rPr lang="de-DE" dirty="0"/>
              <a:t>System integration: e.g. </a:t>
            </a:r>
            <a:r>
              <a:rPr lang="de-DE" dirty="0" err="1"/>
              <a:t>reduce</a:t>
            </a:r>
            <a:r>
              <a:rPr lang="de-DE" dirty="0"/>
              <a:t> RE </a:t>
            </a:r>
            <a:r>
              <a:rPr lang="de-DE" dirty="0" err="1"/>
              <a:t>intermittency</a:t>
            </a:r>
            <a:endParaRPr lang="en-US" dirty="0"/>
          </a:p>
          <a:p>
            <a:pPr lvl="1"/>
            <a:r>
              <a:rPr lang="en-US" dirty="0"/>
              <a:t>Contract projects with a positive (local) socio-economic impact</a:t>
            </a:r>
          </a:p>
          <a:p>
            <a:pPr lvl="1"/>
            <a:r>
              <a:rPr lang="en-US" dirty="0"/>
              <a:t>Ensure a certain regional distribution of generation facilities (e.g. for grid concerns)</a:t>
            </a:r>
          </a:p>
          <a:p>
            <a:pPr lvl="1"/>
            <a:r>
              <a:rPr lang="en-US" dirty="0"/>
              <a:t>Maintain or achieve a certain mix of market players</a:t>
            </a:r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42CAF0B-910E-4DA7-93B8-759FF731B4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competitive procurement? </a:t>
            </a:r>
          </a:p>
        </p:txBody>
      </p:sp>
    </p:spTree>
    <p:extLst>
      <p:ext uri="{BB962C8B-B14F-4D97-AF65-F5344CB8AC3E}">
        <p14:creationId xmlns:p14="http://schemas.microsoft.com/office/powerpoint/2010/main" val="20127546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3vT0jnZJHSUNxvzDVbJ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0"/>
  <p:tag name="MMCOA_FONTSIZE_S" val="14"/>
  <p:tag name="MMCOA_FONTSIZE_T" val="14"/>
  <p:tag name="MMCOA_POSITION_L" val="35.875;100.625;392.75;684"/>
  <p:tag name="MMCOA_POSITION_M" val="35.875;100.625;392.75;684"/>
  <p:tag name="MMCOA_POSITION_S" val="35.875;100.625;392.75;684"/>
  <p:tag name="MMCOA_POSITION_T" val="35.875;100.625;392.75;684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EKIYu8rOaWlZEZ4.wbz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0"/>
  <p:tag name="MMCOA_FONTSIZE_S" val="14"/>
  <p:tag name="MMCOA_FONTSIZE_T" val="14"/>
  <p:tag name="MMCOA_POSITION_L" val="35.875;100.625;392.75;684"/>
  <p:tag name="MMCOA_POSITION_M" val="35.875;100.625;392.75;684"/>
  <p:tag name="MMCOA_POSITION_S" val="35.875;100.625;392.75;684"/>
  <p:tag name="MMCOA_POSITION_T" val="35.875;100.625;392.75;684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AJ9umPIoqlpnpi66Itt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y1.oc3GNfID1j2fTza3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0"/>
  <p:tag name="MMCOA_FONTSIZE_S" val="14"/>
  <p:tag name="MMCOA_FONTSIZE_T" val="14"/>
  <p:tag name="MMCOA_POSITION_L" val="35.875;100.625;392.75;684"/>
  <p:tag name="MMCOA_POSITION_M" val="35.875;100.625;392.75;684"/>
  <p:tag name="MMCOA_POSITION_S" val="35.875;100.625;392.75;684"/>
  <p:tag name="MMCOA_POSITION_T" val="35.875;100.625;392.75;684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BusPXIcBxjCERDeTKWs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0"/>
  <p:tag name="MMCOA_FONTSIZE_S" val="14"/>
  <p:tag name="MMCOA_FONTSIZE_T" val="14"/>
  <p:tag name="MMCOA_POSITION_L" val="35.875;100.625;392.75;684"/>
  <p:tag name="MMCOA_POSITION_M" val="35.875;100.625;392.75;684"/>
  <p:tag name="MMCOA_POSITION_S" val="35.875;100.625;392.75;684"/>
  <p:tag name="MMCOA_POSITION_T" val="35.875;100.625;392.75;684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km0t9uE1acoVaLaDcLh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.3-Template_4.29.2016">
  <a:themeElements>
    <a:clrScheme name="Custom 2">
      <a:dk1>
        <a:sysClr val="windowText" lastClr="000000"/>
      </a:dk1>
      <a:lt1>
        <a:srgbClr val="FFFFFF"/>
      </a:lt1>
      <a:dk2>
        <a:srgbClr val="002F6C"/>
      </a:dk2>
      <a:lt2>
        <a:srgbClr val="BA0C2F"/>
      </a:lt2>
      <a:accent1>
        <a:srgbClr val="002F6C"/>
      </a:accent1>
      <a:accent2>
        <a:srgbClr val="BA0C2F"/>
      </a:accent2>
      <a:accent3>
        <a:srgbClr val="6C6463"/>
      </a:accent3>
      <a:accent4>
        <a:srgbClr val="000000"/>
      </a:accent4>
      <a:accent5>
        <a:srgbClr val="CFCDC9"/>
      </a:accent5>
      <a:accent6>
        <a:srgbClr val="0067B9"/>
      </a:accent6>
      <a:hlink>
        <a:srgbClr val="6C6463"/>
      </a:hlink>
      <a:folHlink>
        <a:srgbClr val="CFCDC9"/>
      </a:folHlink>
    </a:clrScheme>
    <a:fontScheme name="Solstice">
      <a:majorFont>
        <a:latin typeface="Gill Sans MT"/>
        <a:ea typeface=""/>
        <a:cs typeface=""/>
        <a:font script="Grek" typeface="Corbel"/>
        <a:font script="Cyrl" typeface="Corbel"/>
        <a:font script="Jpan" typeface="ＭＳ ゴシック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ＭＳ ゴシック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Presentation_Refresh 4:3">
  <a:themeElements>
    <a:clrScheme name="Custom 5">
      <a:dk1>
        <a:srgbClr val="555759"/>
      </a:dk1>
      <a:lt1>
        <a:sysClr val="window" lastClr="FFFFFF"/>
      </a:lt1>
      <a:dk2>
        <a:srgbClr val="555759"/>
      </a:dk2>
      <a:lt2>
        <a:srgbClr val="FFFFFF"/>
      </a:lt2>
      <a:accent1>
        <a:srgbClr val="555759"/>
      </a:accent1>
      <a:accent2>
        <a:srgbClr val="95D600"/>
      </a:accent2>
      <a:accent3>
        <a:srgbClr val="0093C9"/>
      </a:accent3>
      <a:accent4>
        <a:srgbClr val="FFB718"/>
      </a:accent4>
      <a:accent5>
        <a:srgbClr val="E53C2E"/>
      </a:accent5>
      <a:accent6>
        <a:srgbClr val="8B189B"/>
      </a:accent6>
      <a:hlink>
        <a:srgbClr val="85D206"/>
      </a:hlink>
      <a:folHlink>
        <a:srgbClr val="648C1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Palatino Linotype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Palatino Linotype" pitchFamily="18" charset="0"/>
          </a:defRPr>
        </a:defPPr>
      </a:lstStyle>
    </a:lnDef>
  </a:objectDefaults>
  <a:extraClrSchemeLst>
    <a:extraClrScheme>
      <a:clrScheme name="NCI Powerpoint 1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B88740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D8C3AF"/>
        </a:accent5>
        <a:accent6>
          <a:srgbClr val="384210"/>
        </a:accent6>
        <a:hlink>
          <a:srgbClr val="093678"/>
        </a:hlink>
        <a:folHlink>
          <a:srgbClr val="A15F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2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AB6240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D2B7AF"/>
        </a:accent5>
        <a:accent6>
          <a:srgbClr val="384210"/>
        </a:accent6>
        <a:hlink>
          <a:srgbClr val="093678"/>
        </a:hlink>
        <a:folHlink>
          <a:srgbClr val="8F2E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3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855576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C2B4BD"/>
        </a:accent5>
        <a:accent6>
          <a:srgbClr val="384210"/>
        </a:accent6>
        <a:hlink>
          <a:srgbClr val="A15F00"/>
        </a:hlink>
        <a:folHlink>
          <a:srgbClr val="5C1C4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4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46689A"/>
        </a:accent1>
        <a:accent2>
          <a:srgbClr val="5C2801"/>
        </a:accent2>
        <a:accent3>
          <a:srgbClr val="FFFFFF"/>
        </a:accent3>
        <a:accent4>
          <a:srgbClr val="000000"/>
        </a:accent4>
        <a:accent5>
          <a:srgbClr val="B0B9CA"/>
        </a:accent5>
        <a:accent6>
          <a:srgbClr val="532301"/>
        </a:accent6>
        <a:hlink>
          <a:srgbClr val="17524E"/>
        </a:hlink>
        <a:folHlink>
          <a:srgbClr val="09367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5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517D7A"/>
        </a:accent1>
        <a:accent2>
          <a:srgbClr val="A15F00"/>
        </a:accent2>
        <a:accent3>
          <a:srgbClr val="FFFFFF"/>
        </a:accent3>
        <a:accent4>
          <a:srgbClr val="000000"/>
        </a:accent4>
        <a:accent5>
          <a:srgbClr val="B3BFBE"/>
        </a:accent5>
        <a:accent6>
          <a:srgbClr val="915500"/>
        </a:accent6>
        <a:hlink>
          <a:srgbClr val="5C1C49"/>
        </a:hlink>
        <a:folHlink>
          <a:srgbClr val="17524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6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6F774E"/>
        </a:accent1>
        <a:accent2>
          <a:srgbClr val="093678"/>
        </a:accent2>
        <a:accent3>
          <a:srgbClr val="FFFFFF"/>
        </a:accent3>
        <a:accent4>
          <a:srgbClr val="000000"/>
        </a:accent4>
        <a:accent5>
          <a:srgbClr val="BBBDB2"/>
        </a:accent5>
        <a:accent6>
          <a:srgbClr val="07306C"/>
        </a:accent6>
        <a:hlink>
          <a:srgbClr val="8F2E00"/>
        </a:hlink>
        <a:folHlink>
          <a:srgbClr val="3F4A1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7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855E40"/>
        </a:accent1>
        <a:accent2>
          <a:srgbClr val="17524E"/>
        </a:accent2>
        <a:accent3>
          <a:srgbClr val="FFFFFF"/>
        </a:accent3>
        <a:accent4>
          <a:srgbClr val="000000"/>
        </a:accent4>
        <a:accent5>
          <a:srgbClr val="C2B6AF"/>
        </a:accent5>
        <a:accent6>
          <a:srgbClr val="144946"/>
        </a:accent6>
        <a:hlink>
          <a:srgbClr val="8F2E00"/>
        </a:hlink>
        <a:folHlink>
          <a:srgbClr val="5C280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2" id="{BEE83EC7-0760-42FD-9151-72E39E1269C6}" vid="{D74689B0-0388-473D-A06D-3EB489E9CE60}"/>
    </a:ext>
  </a:extLst>
</a:theme>
</file>

<file path=ppt/theme/theme3.xml><?xml version="1.0" encoding="utf-8"?>
<a:theme xmlns:a="http://schemas.openxmlformats.org/drawingml/2006/main" name="2_4.3-Template_4.29.2016">
  <a:themeElements>
    <a:clrScheme name="Custom 2">
      <a:dk1>
        <a:sysClr val="windowText" lastClr="000000"/>
      </a:dk1>
      <a:lt1>
        <a:srgbClr val="FFFFFF"/>
      </a:lt1>
      <a:dk2>
        <a:srgbClr val="002F6C"/>
      </a:dk2>
      <a:lt2>
        <a:srgbClr val="BA0C2F"/>
      </a:lt2>
      <a:accent1>
        <a:srgbClr val="002F6C"/>
      </a:accent1>
      <a:accent2>
        <a:srgbClr val="BA0C2F"/>
      </a:accent2>
      <a:accent3>
        <a:srgbClr val="6C6463"/>
      </a:accent3>
      <a:accent4>
        <a:srgbClr val="000000"/>
      </a:accent4>
      <a:accent5>
        <a:srgbClr val="CFCDC9"/>
      </a:accent5>
      <a:accent6>
        <a:srgbClr val="0067B9"/>
      </a:accent6>
      <a:hlink>
        <a:srgbClr val="6C6463"/>
      </a:hlink>
      <a:folHlink>
        <a:srgbClr val="CFCDC9"/>
      </a:folHlink>
    </a:clrScheme>
    <a:fontScheme name="Solstice">
      <a:majorFont>
        <a:latin typeface="Gill Sans MT"/>
        <a:ea typeface=""/>
        <a:cs typeface=""/>
        <a:font script="Grek" typeface="Corbel"/>
        <a:font script="Cyrl" typeface="Corbel"/>
        <a:font script="Jpan" typeface="ＭＳ ゴシック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ＭＳ ゴシック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Navigant_Gray">
  <a:themeElements>
    <a:clrScheme name="Navigant">
      <a:dk1>
        <a:srgbClr val="555759"/>
      </a:dk1>
      <a:lt1>
        <a:srgbClr val="FFFFFF"/>
      </a:lt1>
      <a:dk2>
        <a:srgbClr val="555759"/>
      </a:dk2>
      <a:lt2>
        <a:srgbClr val="FFFFFF"/>
      </a:lt2>
      <a:accent1>
        <a:srgbClr val="648C1A"/>
      </a:accent1>
      <a:accent2>
        <a:srgbClr val="95D600"/>
      </a:accent2>
      <a:accent3>
        <a:srgbClr val="FFB718"/>
      </a:accent3>
      <a:accent4>
        <a:srgbClr val="E53C2E"/>
      </a:accent4>
      <a:accent5>
        <a:srgbClr val="8B189B"/>
      </a:accent5>
      <a:accent6>
        <a:srgbClr val="0093C9"/>
      </a:accent6>
      <a:hlink>
        <a:srgbClr val="648C1A"/>
      </a:hlink>
      <a:folHlink>
        <a:srgbClr val="95D600"/>
      </a:folHlink>
    </a:clrScheme>
    <a:fontScheme name="Oliver Wyman">
      <a:maj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 rotWithShape="1">
          <a:gsLst>
            <a:gs pos="0">
              <a:schemeClr val="phClr">
                <a:tint val="100000"/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hade val="100000"/>
                <a:satMod val="220000"/>
              </a:schemeClr>
            </a:gs>
          </a:gsLst>
          <a:lin ang="162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rtlCol="0" anchor="ctr">
        <a:noAutofit/>
      </a:bodyPr>
      <a:lstStyle>
        <a:defPPr algn="ctr">
          <a:lnSpc>
            <a:spcPct val="100000"/>
          </a:lnSpc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00000"/>
          </a:lnSpc>
          <a:defRPr dirty="0" err="1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  <a:custClr name="Pure Red">
      <a:srgbClr val="FF0000"/>
    </a:custClr>
    <a:custClr name="Bright Onyx">
      <a:srgbClr val="808080"/>
    </a:custClr>
    <a:custClr name="Table Onyx">
      <a:srgbClr val="E8E8E8"/>
    </a:custClr>
    <a:custClr name="Medium Sapphire">
      <a:srgbClr val="016D9F"/>
    </a:custClr>
    <a:custClr name="Bright Sapphire">
      <a:srgbClr val="00A8C8"/>
    </a:custClr>
    <a:custClr name="Pale Sapphire">
      <a:srgbClr val="E1FAFF"/>
    </a:custClr>
    <a:custClr name="Dark Topaz">
      <a:srgbClr val="8E5501"/>
    </a:custClr>
    <a:custClr name="Pale Topaz">
      <a:srgbClr val="FFEED5"/>
    </a:custClr>
    <a:custClr name="Dark Emerald">
      <a:srgbClr val="00582D"/>
    </a:custClr>
    <a:custClr name="Pale Emerald">
      <a:srgbClr val="E2EDC3"/>
    </a:custClr>
  </a:custClrLst>
  <a:extLst>
    <a:ext uri="{05A4C25C-085E-4340-85A3-A5531E510DB2}">
      <thm15:themeFamily xmlns:thm15="http://schemas.microsoft.com/office/thememl/2012/main" name="Navigant template" id="{A43CD75E-9E68-4CD0-959B-6AC5A5067945}" vid="{159CC80E-3ACF-41DC-A678-815DB1EF3FE0}"/>
    </a:ext>
  </a:extLst>
</a:theme>
</file>

<file path=ppt/theme/theme5.xml><?xml version="1.0" encoding="utf-8"?>
<a:theme xmlns:a="http://schemas.openxmlformats.org/drawingml/2006/main" name="1_Navigant_Gray">
  <a:themeElements>
    <a:clrScheme name="Navigant">
      <a:dk1>
        <a:srgbClr val="555759"/>
      </a:dk1>
      <a:lt1>
        <a:srgbClr val="FFFFFF"/>
      </a:lt1>
      <a:dk2>
        <a:srgbClr val="555759"/>
      </a:dk2>
      <a:lt2>
        <a:srgbClr val="FFFFFF"/>
      </a:lt2>
      <a:accent1>
        <a:srgbClr val="648C1A"/>
      </a:accent1>
      <a:accent2>
        <a:srgbClr val="95D600"/>
      </a:accent2>
      <a:accent3>
        <a:srgbClr val="FFB718"/>
      </a:accent3>
      <a:accent4>
        <a:srgbClr val="E53C2E"/>
      </a:accent4>
      <a:accent5>
        <a:srgbClr val="8B189B"/>
      </a:accent5>
      <a:accent6>
        <a:srgbClr val="0093C9"/>
      </a:accent6>
      <a:hlink>
        <a:srgbClr val="648C1A"/>
      </a:hlink>
      <a:folHlink>
        <a:srgbClr val="95D600"/>
      </a:folHlink>
    </a:clrScheme>
    <a:fontScheme name="Oliver Wyman">
      <a:maj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 rotWithShape="1">
          <a:gsLst>
            <a:gs pos="0">
              <a:schemeClr val="phClr">
                <a:tint val="100000"/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hade val="100000"/>
                <a:satMod val="220000"/>
              </a:schemeClr>
            </a:gs>
          </a:gsLst>
          <a:lin ang="162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rtlCol="0" anchor="ctr">
        <a:noAutofit/>
      </a:bodyPr>
      <a:lstStyle>
        <a:defPPr algn="ctr">
          <a:lnSpc>
            <a:spcPct val="100000"/>
          </a:lnSpc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00000"/>
          </a:lnSpc>
          <a:defRPr dirty="0" err="1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  <a:custClr name="Pure Red">
      <a:srgbClr val="FF0000"/>
    </a:custClr>
    <a:custClr name="Bright Onyx">
      <a:srgbClr val="808080"/>
    </a:custClr>
    <a:custClr name="Table Onyx">
      <a:srgbClr val="E8E8E8"/>
    </a:custClr>
    <a:custClr name="Medium Sapphire">
      <a:srgbClr val="016D9F"/>
    </a:custClr>
    <a:custClr name="Bright Sapphire">
      <a:srgbClr val="00A8C8"/>
    </a:custClr>
    <a:custClr name="Pale Sapphire">
      <a:srgbClr val="E1FAFF"/>
    </a:custClr>
    <a:custClr name="Dark Topaz">
      <a:srgbClr val="8E5501"/>
    </a:custClr>
    <a:custClr name="Pale Topaz">
      <a:srgbClr val="FFEED5"/>
    </a:custClr>
    <a:custClr name="Dark Emerald">
      <a:srgbClr val="00582D"/>
    </a:custClr>
    <a:custClr name="Pale Emerald">
      <a:srgbClr val="E2EDC3"/>
    </a:custClr>
  </a:custClrLst>
  <a:extLst>
    <a:ext uri="{05A4C25C-085E-4340-85A3-A5531E510DB2}">
      <thm15:themeFamily xmlns:thm15="http://schemas.microsoft.com/office/thememl/2012/main" name="Strommarkttreffen - Standortsteuerung" id="{F88D08B6-4347-42E3-BAFC-3660FBA6D522}" vid="{C305799B-7933-4F83-972F-FDDB2275C43F}"/>
    </a:ext>
  </a:extLst>
</a:theme>
</file>

<file path=ppt/theme/theme6.xml><?xml version="1.0" encoding="utf-8"?>
<a:theme xmlns:a="http://schemas.openxmlformats.org/drawingml/2006/main" name="Presentation_Refresh 4:3">
  <a:themeElements>
    <a:clrScheme name="Custom 5">
      <a:dk1>
        <a:srgbClr val="555759"/>
      </a:dk1>
      <a:lt1>
        <a:sysClr val="window" lastClr="FFFFFF"/>
      </a:lt1>
      <a:dk2>
        <a:srgbClr val="555759"/>
      </a:dk2>
      <a:lt2>
        <a:srgbClr val="FFFFFF"/>
      </a:lt2>
      <a:accent1>
        <a:srgbClr val="555759"/>
      </a:accent1>
      <a:accent2>
        <a:srgbClr val="95D600"/>
      </a:accent2>
      <a:accent3>
        <a:srgbClr val="0093C9"/>
      </a:accent3>
      <a:accent4>
        <a:srgbClr val="FFB718"/>
      </a:accent4>
      <a:accent5>
        <a:srgbClr val="E53C2E"/>
      </a:accent5>
      <a:accent6>
        <a:srgbClr val="8B189B"/>
      </a:accent6>
      <a:hlink>
        <a:srgbClr val="85D206"/>
      </a:hlink>
      <a:folHlink>
        <a:srgbClr val="648C1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j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Palatino Linotype" pitchFamily="18" charset="0"/>
          </a:defRPr>
        </a:defPPr>
      </a:lstStyle>
    </a:lnDef>
  </a:objectDefaults>
  <a:extraClrSchemeLst>
    <a:extraClrScheme>
      <a:clrScheme name="NCI Powerpoint 1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B88740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D8C3AF"/>
        </a:accent5>
        <a:accent6>
          <a:srgbClr val="384210"/>
        </a:accent6>
        <a:hlink>
          <a:srgbClr val="093678"/>
        </a:hlink>
        <a:folHlink>
          <a:srgbClr val="A15F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2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AB6240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D2B7AF"/>
        </a:accent5>
        <a:accent6>
          <a:srgbClr val="384210"/>
        </a:accent6>
        <a:hlink>
          <a:srgbClr val="093678"/>
        </a:hlink>
        <a:folHlink>
          <a:srgbClr val="8F2E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3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855576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C2B4BD"/>
        </a:accent5>
        <a:accent6>
          <a:srgbClr val="384210"/>
        </a:accent6>
        <a:hlink>
          <a:srgbClr val="A15F00"/>
        </a:hlink>
        <a:folHlink>
          <a:srgbClr val="5C1C4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4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46689A"/>
        </a:accent1>
        <a:accent2>
          <a:srgbClr val="5C2801"/>
        </a:accent2>
        <a:accent3>
          <a:srgbClr val="FFFFFF"/>
        </a:accent3>
        <a:accent4>
          <a:srgbClr val="000000"/>
        </a:accent4>
        <a:accent5>
          <a:srgbClr val="B0B9CA"/>
        </a:accent5>
        <a:accent6>
          <a:srgbClr val="532301"/>
        </a:accent6>
        <a:hlink>
          <a:srgbClr val="17524E"/>
        </a:hlink>
        <a:folHlink>
          <a:srgbClr val="09367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5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517D7A"/>
        </a:accent1>
        <a:accent2>
          <a:srgbClr val="A15F00"/>
        </a:accent2>
        <a:accent3>
          <a:srgbClr val="FFFFFF"/>
        </a:accent3>
        <a:accent4>
          <a:srgbClr val="000000"/>
        </a:accent4>
        <a:accent5>
          <a:srgbClr val="B3BFBE"/>
        </a:accent5>
        <a:accent6>
          <a:srgbClr val="915500"/>
        </a:accent6>
        <a:hlink>
          <a:srgbClr val="5C1C49"/>
        </a:hlink>
        <a:folHlink>
          <a:srgbClr val="17524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6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6F774E"/>
        </a:accent1>
        <a:accent2>
          <a:srgbClr val="093678"/>
        </a:accent2>
        <a:accent3>
          <a:srgbClr val="FFFFFF"/>
        </a:accent3>
        <a:accent4>
          <a:srgbClr val="000000"/>
        </a:accent4>
        <a:accent5>
          <a:srgbClr val="BBBDB2"/>
        </a:accent5>
        <a:accent6>
          <a:srgbClr val="07306C"/>
        </a:accent6>
        <a:hlink>
          <a:srgbClr val="8F2E00"/>
        </a:hlink>
        <a:folHlink>
          <a:srgbClr val="3F4A1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7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855E40"/>
        </a:accent1>
        <a:accent2>
          <a:srgbClr val="17524E"/>
        </a:accent2>
        <a:accent3>
          <a:srgbClr val="FFFFFF"/>
        </a:accent3>
        <a:accent4>
          <a:srgbClr val="000000"/>
        </a:accent4>
        <a:accent5>
          <a:srgbClr val="C2B6AF"/>
        </a:accent5>
        <a:accent6>
          <a:srgbClr val="144946"/>
        </a:accent6>
        <a:hlink>
          <a:srgbClr val="8F2E00"/>
        </a:hlink>
        <a:folHlink>
          <a:srgbClr val="5C280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CORP_BrandRefreshNavigantTemplate4x3_PPT_FINAL.potx" id="{D18732E3-5FC8-4543-9315-A259989668F0}" vid="{E2EC561C-9127-47EA-9B2A-1ACA8630C48B}"/>
    </a:ext>
  </a:extLst>
</a:theme>
</file>

<file path=ppt/theme/theme7.xml><?xml version="1.0" encoding="utf-8"?>
<a:theme xmlns:a="http://schemas.openxmlformats.org/drawingml/2006/main" name="2_Presentation_Refresh 4:3">
  <a:themeElements>
    <a:clrScheme name="Custom 5">
      <a:dk1>
        <a:srgbClr val="555759"/>
      </a:dk1>
      <a:lt1>
        <a:sysClr val="window" lastClr="FFFFFF"/>
      </a:lt1>
      <a:dk2>
        <a:srgbClr val="555759"/>
      </a:dk2>
      <a:lt2>
        <a:srgbClr val="FFFFFF"/>
      </a:lt2>
      <a:accent1>
        <a:srgbClr val="555759"/>
      </a:accent1>
      <a:accent2>
        <a:srgbClr val="95D600"/>
      </a:accent2>
      <a:accent3>
        <a:srgbClr val="0093C9"/>
      </a:accent3>
      <a:accent4>
        <a:srgbClr val="FFB718"/>
      </a:accent4>
      <a:accent5>
        <a:srgbClr val="E53C2E"/>
      </a:accent5>
      <a:accent6>
        <a:srgbClr val="8B189B"/>
      </a:accent6>
      <a:hlink>
        <a:srgbClr val="85D206"/>
      </a:hlink>
      <a:folHlink>
        <a:srgbClr val="648C1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j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Palatino Linotype" pitchFamily="18" charset="0"/>
          </a:defRPr>
        </a:defPPr>
      </a:lstStyle>
    </a:lnDef>
  </a:objectDefaults>
  <a:extraClrSchemeLst>
    <a:extraClrScheme>
      <a:clrScheme name="NCI Powerpoint 1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B88740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D8C3AF"/>
        </a:accent5>
        <a:accent6>
          <a:srgbClr val="384210"/>
        </a:accent6>
        <a:hlink>
          <a:srgbClr val="093678"/>
        </a:hlink>
        <a:folHlink>
          <a:srgbClr val="A15F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2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AB6240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D2B7AF"/>
        </a:accent5>
        <a:accent6>
          <a:srgbClr val="384210"/>
        </a:accent6>
        <a:hlink>
          <a:srgbClr val="093678"/>
        </a:hlink>
        <a:folHlink>
          <a:srgbClr val="8F2E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3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855576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C2B4BD"/>
        </a:accent5>
        <a:accent6>
          <a:srgbClr val="384210"/>
        </a:accent6>
        <a:hlink>
          <a:srgbClr val="A15F00"/>
        </a:hlink>
        <a:folHlink>
          <a:srgbClr val="5C1C4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4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46689A"/>
        </a:accent1>
        <a:accent2>
          <a:srgbClr val="5C2801"/>
        </a:accent2>
        <a:accent3>
          <a:srgbClr val="FFFFFF"/>
        </a:accent3>
        <a:accent4>
          <a:srgbClr val="000000"/>
        </a:accent4>
        <a:accent5>
          <a:srgbClr val="B0B9CA"/>
        </a:accent5>
        <a:accent6>
          <a:srgbClr val="532301"/>
        </a:accent6>
        <a:hlink>
          <a:srgbClr val="17524E"/>
        </a:hlink>
        <a:folHlink>
          <a:srgbClr val="09367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5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517D7A"/>
        </a:accent1>
        <a:accent2>
          <a:srgbClr val="A15F00"/>
        </a:accent2>
        <a:accent3>
          <a:srgbClr val="FFFFFF"/>
        </a:accent3>
        <a:accent4>
          <a:srgbClr val="000000"/>
        </a:accent4>
        <a:accent5>
          <a:srgbClr val="B3BFBE"/>
        </a:accent5>
        <a:accent6>
          <a:srgbClr val="915500"/>
        </a:accent6>
        <a:hlink>
          <a:srgbClr val="5C1C49"/>
        </a:hlink>
        <a:folHlink>
          <a:srgbClr val="17524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6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6F774E"/>
        </a:accent1>
        <a:accent2>
          <a:srgbClr val="093678"/>
        </a:accent2>
        <a:accent3>
          <a:srgbClr val="FFFFFF"/>
        </a:accent3>
        <a:accent4>
          <a:srgbClr val="000000"/>
        </a:accent4>
        <a:accent5>
          <a:srgbClr val="BBBDB2"/>
        </a:accent5>
        <a:accent6>
          <a:srgbClr val="07306C"/>
        </a:accent6>
        <a:hlink>
          <a:srgbClr val="8F2E00"/>
        </a:hlink>
        <a:folHlink>
          <a:srgbClr val="3F4A1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7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855E40"/>
        </a:accent1>
        <a:accent2>
          <a:srgbClr val="17524E"/>
        </a:accent2>
        <a:accent3>
          <a:srgbClr val="FFFFFF"/>
        </a:accent3>
        <a:accent4>
          <a:srgbClr val="000000"/>
        </a:accent4>
        <a:accent5>
          <a:srgbClr val="C2B6AF"/>
        </a:accent5>
        <a:accent6>
          <a:srgbClr val="144946"/>
        </a:accent6>
        <a:hlink>
          <a:srgbClr val="8F2E00"/>
        </a:hlink>
        <a:folHlink>
          <a:srgbClr val="5C280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CORP_BrandRefreshNavigantTemplate4x3_PPT_FINAL.potx" id="{D18732E3-5FC8-4543-9315-A259989668F0}" vid="{E2EC561C-9127-47EA-9B2A-1ACA8630C48B}"/>
    </a:ext>
  </a:extLst>
</a:theme>
</file>

<file path=ppt/theme/theme8.xml><?xml version="1.0" encoding="utf-8"?>
<a:theme xmlns:a="http://schemas.openxmlformats.org/drawingml/2006/main" name="7_Navigant_Gray">
  <a:themeElements>
    <a:clrScheme name="Navigant">
      <a:dk1>
        <a:srgbClr val="555759"/>
      </a:dk1>
      <a:lt1>
        <a:srgbClr val="FFFFFF"/>
      </a:lt1>
      <a:dk2>
        <a:srgbClr val="555759"/>
      </a:dk2>
      <a:lt2>
        <a:srgbClr val="FFFFFF"/>
      </a:lt2>
      <a:accent1>
        <a:srgbClr val="648C1A"/>
      </a:accent1>
      <a:accent2>
        <a:srgbClr val="95D600"/>
      </a:accent2>
      <a:accent3>
        <a:srgbClr val="FFB718"/>
      </a:accent3>
      <a:accent4>
        <a:srgbClr val="E53C2E"/>
      </a:accent4>
      <a:accent5>
        <a:srgbClr val="8B189B"/>
      </a:accent5>
      <a:accent6>
        <a:srgbClr val="0093C9"/>
      </a:accent6>
      <a:hlink>
        <a:srgbClr val="648C1A"/>
      </a:hlink>
      <a:folHlink>
        <a:srgbClr val="95D600"/>
      </a:folHlink>
    </a:clrScheme>
    <a:fontScheme name="Oliver Wyman">
      <a:maj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 rotWithShape="1">
          <a:gsLst>
            <a:gs pos="0">
              <a:schemeClr val="phClr">
                <a:tint val="100000"/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hade val="100000"/>
                <a:satMod val="220000"/>
              </a:schemeClr>
            </a:gs>
          </a:gsLst>
          <a:lin ang="162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rtlCol="0" anchor="ctr">
        <a:noAutofit/>
      </a:bodyPr>
      <a:lstStyle>
        <a:defPPr algn="ctr">
          <a:lnSpc>
            <a:spcPct val="100000"/>
          </a:lnSpc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00000"/>
          </a:lnSpc>
          <a:defRPr dirty="0" err="1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  <a:custClr name="Pure Red">
      <a:srgbClr val="FF0000"/>
    </a:custClr>
    <a:custClr name="Bright Onyx">
      <a:srgbClr val="808080"/>
    </a:custClr>
    <a:custClr name="Table Onyx">
      <a:srgbClr val="E8E8E8"/>
    </a:custClr>
    <a:custClr name="Medium Sapphire">
      <a:srgbClr val="016D9F"/>
    </a:custClr>
    <a:custClr name="Bright Sapphire">
      <a:srgbClr val="00A8C8"/>
    </a:custClr>
    <a:custClr name="Pale Sapphire">
      <a:srgbClr val="E1FAFF"/>
    </a:custClr>
    <a:custClr name="Dark Topaz">
      <a:srgbClr val="8E5501"/>
    </a:custClr>
    <a:custClr name="Pale Topaz">
      <a:srgbClr val="FFEED5"/>
    </a:custClr>
    <a:custClr name="Dark Emerald">
      <a:srgbClr val="00582D"/>
    </a:custClr>
    <a:custClr name="Pale Emerald">
      <a:srgbClr val="E2EDC3"/>
    </a:custClr>
  </a:custClrLst>
  <a:extLst>
    <a:ext uri="{05A4C25C-085E-4340-85A3-A5531E510DB2}">
      <thm15:themeFamily xmlns:thm15="http://schemas.microsoft.com/office/thememl/2012/main" name="Navigant template" id="{A43CD75E-9E68-4CD0-959B-6AC5A5067945}" vid="{159CC80E-3ACF-41DC-A678-815DB1EF3FE0}"/>
    </a:ext>
  </a:extLst>
</a:theme>
</file>

<file path=ppt/theme/theme9.xml><?xml version="1.0" encoding="utf-8"?>
<a:theme xmlns:a="http://schemas.openxmlformats.org/drawingml/2006/main" name="8_Navigant_Gray">
  <a:themeElements>
    <a:clrScheme name="Navigant">
      <a:dk1>
        <a:srgbClr val="555759"/>
      </a:dk1>
      <a:lt1>
        <a:srgbClr val="FFFFFF"/>
      </a:lt1>
      <a:dk2>
        <a:srgbClr val="555759"/>
      </a:dk2>
      <a:lt2>
        <a:srgbClr val="FFFFFF"/>
      </a:lt2>
      <a:accent1>
        <a:srgbClr val="648C1A"/>
      </a:accent1>
      <a:accent2>
        <a:srgbClr val="95D600"/>
      </a:accent2>
      <a:accent3>
        <a:srgbClr val="FFB718"/>
      </a:accent3>
      <a:accent4>
        <a:srgbClr val="E53C2E"/>
      </a:accent4>
      <a:accent5>
        <a:srgbClr val="8B189B"/>
      </a:accent5>
      <a:accent6>
        <a:srgbClr val="0093C9"/>
      </a:accent6>
      <a:hlink>
        <a:srgbClr val="648C1A"/>
      </a:hlink>
      <a:folHlink>
        <a:srgbClr val="95D600"/>
      </a:folHlink>
    </a:clrScheme>
    <a:fontScheme name="Oliver Wyman">
      <a:maj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 rotWithShape="1">
          <a:gsLst>
            <a:gs pos="0">
              <a:schemeClr val="phClr">
                <a:tint val="100000"/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hade val="100000"/>
                <a:satMod val="220000"/>
              </a:schemeClr>
            </a:gs>
          </a:gsLst>
          <a:lin ang="162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rtlCol="0" anchor="ctr">
        <a:noAutofit/>
      </a:bodyPr>
      <a:lstStyle>
        <a:defPPr algn="ctr">
          <a:lnSpc>
            <a:spcPct val="100000"/>
          </a:lnSpc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00000"/>
          </a:lnSpc>
          <a:defRPr dirty="0" err="1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  <a:custClr name="Pure Red">
      <a:srgbClr val="FF0000"/>
    </a:custClr>
    <a:custClr name="Bright Onyx">
      <a:srgbClr val="808080"/>
    </a:custClr>
    <a:custClr name="Table Onyx">
      <a:srgbClr val="E8E8E8"/>
    </a:custClr>
    <a:custClr name="Medium Sapphire">
      <a:srgbClr val="016D9F"/>
    </a:custClr>
    <a:custClr name="Bright Sapphire">
      <a:srgbClr val="00A8C8"/>
    </a:custClr>
    <a:custClr name="Pale Sapphire">
      <a:srgbClr val="E1FAFF"/>
    </a:custClr>
    <a:custClr name="Dark Topaz">
      <a:srgbClr val="8E5501"/>
    </a:custClr>
    <a:custClr name="Pale Topaz">
      <a:srgbClr val="FFEED5"/>
    </a:custClr>
    <a:custClr name="Dark Emerald">
      <a:srgbClr val="00582D"/>
    </a:custClr>
    <a:custClr name="Pale Emerald">
      <a:srgbClr val="E2EDC3"/>
    </a:custClr>
  </a:custClrLst>
  <a:extLst>
    <a:ext uri="{05A4C25C-085E-4340-85A3-A5531E510DB2}">
      <thm15:themeFamily xmlns:thm15="http://schemas.microsoft.com/office/thememl/2012/main" name="Navigant template" id="{A43CD75E-9E68-4CD0-959B-6AC5A5067945}" vid="{159CC80E-3ACF-41DC-A678-815DB1EF3FE0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EcofysConfidential xmlns="8d9b4ab4-65b9-4a08-baeb-312269dd31de">false</EcofysConfidential>
    <ProjectDocumentDescription xmlns="8d9b4ab4-65b9-4a08-baeb-312269dd31de" xsi:nil="true"/>
    <Subcategory xmlns="8d9b4ab4-65b9-4a08-baeb-312269dd31de" xsi:nil="true"/>
    <ProjectDocumentCategory xmlns="8d9b4ab4-65b9-4a08-baeb-312269dd31de">No Category</ProjectDocumentCategory>
    <Country xmlns="8d9b4ab4-65b9-4a08-baeb-312269dd31de" xsi:nil="true"/>
    <Year xmlns="8d9b4ab4-65b9-4a08-baeb-312269dd31de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Ecofys Project Document" ma:contentTypeID="0x01010041C754EF69CC447396707CDFA155F78400BC181712BA935642AACDCDFA754D68E5" ma:contentTypeVersion="15" ma:contentTypeDescription="Create a new document." ma:contentTypeScope="" ma:versionID="f948ac67e752e5b7ce6f9e443303a785">
  <xsd:schema xmlns:xsd="http://www.w3.org/2001/XMLSchema" xmlns:xs="http://www.w3.org/2001/XMLSchema" xmlns:p="http://schemas.microsoft.com/office/2006/metadata/properties" xmlns:ns2="8d9b4ab4-65b9-4a08-baeb-312269dd31de" xmlns:ns3="d1a9d701-4f4a-43a3-88a5-5d202ecff1c2" targetNamespace="http://schemas.microsoft.com/office/2006/metadata/properties" ma:root="true" ma:fieldsID="125bad52f1e60193bb16a6356399dc79" ns2:_="" ns3:_="">
    <xsd:import namespace="8d9b4ab4-65b9-4a08-baeb-312269dd31de"/>
    <xsd:import namespace="d1a9d701-4f4a-43a3-88a5-5d202ecff1c2"/>
    <xsd:element name="properties">
      <xsd:complexType>
        <xsd:sequence>
          <xsd:element name="documentManagement">
            <xsd:complexType>
              <xsd:all>
                <xsd:element ref="ns2:ProjectDocumentDescription" minOccurs="0"/>
                <xsd:element ref="ns2:ProjectDocumentCategory"/>
                <xsd:element ref="ns2:Year" minOccurs="0"/>
                <xsd:element ref="ns2:Country" minOccurs="0"/>
                <xsd:element ref="ns2:Subcategory" minOccurs="0"/>
                <xsd:element ref="ns2:EcofysConfidential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d9b4ab4-65b9-4a08-baeb-312269dd31de" elementFormDefault="qualified">
    <xsd:import namespace="http://schemas.microsoft.com/office/2006/documentManagement/types"/>
    <xsd:import namespace="http://schemas.microsoft.com/office/infopath/2007/PartnerControls"/>
    <xsd:element name="ProjectDocumentDescription" ma:index="8" nillable="true" ma:displayName="Document Description" ma:internalName="ProjectDocumentDescription">
      <xsd:simpleType>
        <xsd:restriction base="dms:Note">
          <xsd:maxLength value="255"/>
        </xsd:restriction>
      </xsd:simpleType>
    </xsd:element>
    <xsd:element name="ProjectDocumentCategory" ma:index="9" ma:displayName="Document Category" ma:default="No Category" ma:internalName="ProjectDocumentCategory" ma:readOnly="false">
      <xsd:simpleType>
        <xsd:restriction base="dms:Choice">
          <xsd:enumeration value="Proposal"/>
          <xsd:enumeration value="QCL"/>
          <xsd:enumeration value="Budget"/>
          <xsd:enumeration value="Contract"/>
          <xsd:enumeration value="Communication"/>
          <xsd:enumeration value="Minutes"/>
          <xsd:enumeration value="Data"/>
          <xsd:enumeration value="Report"/>
          <xsd:enumeration value="Background information"/>
          <xsd:enumeration value="Invoice"/>
          <xsd:enumeration value="Planning and control"/>
          <xsd:enumeration value="Presentation"/>
          <xsd:enumeration value="Image"/>
          <xsd:enumeration value="Sub-contract"/>
          <xsd:enumeration value="Drawing"/>
          <xsd:enumeration value="Analysis"/>
          <xsd:enumeration value="CV"/>
          <xsd:enumeration value="No Category"/>
          <xsd:enumeration value="Tender document"/>
          <xsd:enumeration value="Travel"/>
        </xsd:restriction>
      </xsd:simpleType>
    </xsd:element>
    <xsd:element name="Year" ma:index="10" nillable="true" ma:displayName="Year" ma:default="" ma:internalName="Year">
      <xsd:simpleType>
        <xsd:restriction base="dms:Choice">
          <xsd:enumeration value="2000"/>
          <xsd:enumeration value="2001"/>
          <xsd:enumeration value="2002"/>
          <xsd:enumeration value="2003"/>
          <xsd:enumeration value="2004"/>
          <xsd:enumeration value="2005"/>
          <xsd:enumeration value="2006"/>
          <xsd:enumeration value="2007"/>
          <xsd:enumeration value="2008"/>
          <xsd:enumeration value="2009"/>
          <xsd:enumeration value="2010"/>
          <xsd:enumeration value="2011"/>
          <xsd:enumeration value="2012"/>
          <xsd:enumeration value="2013"/>
          <xsd:enumeration value="2014"/>
          <xsd:enumeration value="2015"/>
          <xsd:enumeration value="2016"/>
          <xsd:enumeration value="2017"/>
          <xsd:enumeration value="2018"/>
          <xsd:enumeration value="2019"/>
          <xsd:enumeration value="2020"/>
          <xsd:enumeration value="2021"/>
          <xsd:enumeration value="2022"/>
          <xsd:enumeration value="2023"/>
          <xsd:enumeration value="2024"/>
          <xsd:enumeration value="2025"/>
        </xsd:restriction>
      </xsd:simpleType>
    </xsd:element>
    <xsd:element name="Country" ma:index="11" nillable="true" ma:displayName="Country" ma:default="" ma:internalName="Country">
      <xsd:simpleType>
        <xsd:restriction base="dms:Choice">
          <xsd:enumeration value=".Africa (region)"/>
          <xsd:enumeration value=".APEC countries (region)"/>
          <xsd:enumeration value=".Asia (region)"/>
          <xsd:enumeration value=".EU (region)"/>
          <xsd:enumeration value=".Euromed (region)"/>
          <xsd:enumeration value=".Global/World (region)"/>
          <xsd:enumeration value=".Latin America (region)"/>
          <xsd:enumeration value=".MENA (region)"/>
          <xsd:enumeration value=".OHADA (region)"/>
          <xsd:enumeration value=".OPEC countries (region)"/>
          <xsd:enumeration value="Albania"/>
          <xsd:enumeration value="Algeria"/>
          <xsd:enumeration value="Angola"/>
          <xsd:enumeration value="Antigua and Barbuda"/>
          <xsd:enumeration value="Argentina"/>
          <xsd:enumeration value="Australia"/>
          <xsd:enumeration value="Austria"/>
          <xsd:enumeration value="Bahrain"/>
          <xsd:enumeration value="Barbados"/>
          <xsd:enumeration value="Belgium"/>
          <xsd:enumeration value="Belize"/>
          <xsd:enumeration value="Benelux"/>
          <xsd:enumeration value="Benin"/>
          <xsd:enumeration value="Benin"/>
          <xsd:enumeration value="Bolivia"/>
          <xsd:enumeration value="Bonaire"/>
          <xsd:enumeration value="Botswana"/>
          <xsd:enumeration value="Brazil"/>
          <xsd:enumeration value="Brunei"/>
          <xsd:enumeration value="Bulgaria"/>
          <xsd:enumeration value="Burkina Faso"/>
          <xsd:enumeration value="Burkina Faso"/>
          <xsd:enumeration value="Burundi"/>
          <xsd:enumeration value="Cameroon"/>
          <xsd:enumeration value="Canada"/>
          <xsd:enumeration value="Cape Verde"/>
          <xsd:enumeration value="Central African Republic"/>
          <xsd:enumeration value="Chad"/>
          <xsd:enumeration value="Chile"/>
          <xsd:enumeration value="Chinese Taipei"/>
          <xsd:enumeration value="Colombia"/>
          <xsd:enumeration value="Comoros"/>
          <xsd:enumeration value="Congo"/>
          <xsd:enumeration value="Costa Rica"/>
          <xsd:enumeration value="Cote d'Ivoire"/>
          <xsd:enumeration value="Cyprus"/>
          <xsd:enumeration value="Czech Republic"/>
          <xsd:enumeration value="Dem. Rep. Congo (Zaire)"/>
          <xsd:enumeration value="Denmark"/>
          <xsd:enumeration value="Djibouti"/>
          <xsd:enumeration value="Dominica"/>
          <xsd:enumeration value="Dominican Republic"/>
          <xsd:enumeration value="Ecuador"/>
          <xsd:enumeration value="Egypt"/>
          <xsd:enumeration value="El Salvador"/>
          <xsd:enumeration value="Equatorial Guinea"/>
          <xsd:enumeration value="Estonia"/>
          <xsd:enumeration value="Ethiopia"/>
          <xsd:enumeration value="Europe"/>
          <xsd:enumeration value="Finland"/>
          <xsd:enumeration value="France"/>
          <xsd:enumeration value="Gabon"/>
          <xsd:enumeration value="Gambia"/>
          <xsd:enumeration value="Germany"/>
          <xsd:enumeration value="Ghana"/>
          <xsd:enumeration value="Greece"/>
          <xsd:enumeration value="Grenada"/>
          <xsd:enumeration value="Guatemala"/>
          <xsd:enumeration value="Guinea"/>
          <xsd:enumeration value="Guinea Bissau"/>
          <xsd:enumeration value="Guyana"/>
          <xsd:enumeration value="Haiti"/>
          <xsd:enumeration value="Honduras"/>
          <xsd:enumeration value="Hong Kong, China"/>
          <xsd:enumeration value="Hungary"/>
          <xsd:enumeration value="Iceland"/>
          <xsd:enumeration value="India"/>
          <xsd:enumeration value="Indonesia"/>
          <xsd:enumeration value="Iran"/>
          <xsd:enumeration value="Iraq"/>
          <xsd:enumeration value="Ireland"/>
          <xsd:enumeration value="Israel"/>
          <xsd:enumeration value="Italy"/>
          <xsd:enumeration value="Ivory Coast"/>
          <xsd:enumeration value="Jamaica"/>
          <xsd:enumeration value="Japan"/>
          <xsd:enumeration value="Jordan"/>
          <xsd:enumeration value="Kazakhstan"/>
          <xsd:enumeration value="Kenya"/>
          <xsd:enumeration value="Korea, North"/>
          <xsd:enumeration value="Korea, South"/>
          <xsd:enumeration value="Kuwait"/>
          <xsd:enumeration value="Kyrgyzstan"/>
          <xsd:enumeration value="Latvia"/>
          <xsd:enumeration value="Lebanon"/>
          <xsd:enumeration value="Lesotho"/>
          <xsd:enumeration value="Liberia"/>
          <xsd:enumeration value="Libya"/>
          <xsd:enumeration value="Lithuania"/>
          <xsd:enumeration value="Luxembourg"/>
          <xsd:enumeration value="Madagascar"/>
          <xsd:enumeration value="Malawi"/>
          <xsd:enumeration value="Malaysia"/>
          <xsd:enumeration value="Maldives"/>
          <xsd:enumeration value="Mali"/>
          <xsd:enumeration value="Malta"/>
          <xsd:enumeration value="Mauritania"/>
          <xsd:enumeration value="Mauritius"/>
          <xsd:enumeration value="Mexico"/>
          <xsd:enumeration value="Moldova"/>
          <xsd:enumeration value="Mongolia"/>
          <xsd:enumeration value="Morocco"/>
          <xsd:enumeration value="Mozambique"/>
          <xsd:enumeration value="Myanmar"/>
          <xsd:enumeration value="Namibia"/>
          <xsd:enumeration value="Nepal"/>
          <xsd:enumeration value="New Zealand"/>
          <xsd:enumeration value="Nicaragua"/>
          <xsd:enumeration value="Niger"/>
          <xsd:enumeration value="Nigeria"/>
          <xsd:enumeration value="Oman"/>
          <xsd:enumeration value="Pakistan"/>
          <xsd:enumeration value="Palestinian territories"/>
          <xsd:enumeration value="Panama"/>
          <xsd:enumeration value="Papua New Guinea"/>
          <xsd:enumeration value="Paraguay"/>
          <xsd:enumeration value="People's Republic of China"/>
          <xsd:enumeration value="Peru"/>
          <xsd:enumeration value="Peru"/>
          <xsd:enumeration value="Philippines"/>
          <xsd:enumeration value="Poland"/>
          <xsd:enumeration value="Portugal"/>
          <xsd:enumeration value="Qatar"/>
          <xsd:enumeration value="Reunion"/>
          <xsd:enumeration value="Romania"/>
          <xsd:enumeration value="Russia"/>
          <xsd:enumeration value="Rwanda"/>
          <xsd:enumeration value="Saint Kitts and Nevis"/>
          <xsd:enumeration value="Saint Lucia"/>
          <xsd:enumeration value="Saint Vincent and the Grenadines"/>
          <xsd:enumeration value="São Tomé and Principe"/>
          <xsd:enumeration value="Saudi Arabia"/>
          <xsd:enumeration value="Senegal"/>
          <xsd:enumeration value="Seychelles"/>
          <xsd:enumeration value="Sierra Leone"/>
          <xsd:enumeration value="Singapore"/>
          <xsd:enumeration value="Singapore"/>
          <xsd:enumeration value="Slovakia"/>
          <xsd:enumeration value="Slovenia"/>
          <xsd:enumeration value="Somalia"/>
          <xsd:enumeration value="South Africa"/>
          <xsd:enumeration value="Spain"/>
          <xsd:enumeration value="Sri Lanka"/>
          <xsd:enumeration value="Sudan"/>
          <xsd:enumeration value="Suriname"/>
          <xsd:enumeration value="Swaziland"/>
          <xsd:enumeration value="Sweden"/>
          <xsd:enumeration value="Switzerland"/>
          <xsd:enumeration value="Syria"/>
          <xsd:enumeration value="Taiwan"/>
          <xsd:enumeration value="Tajikistan"/>
          <xsd:enumeration value="Tanzania"/>
          <xsd:enumeration value="Thailand"/>
          <xsd:enumeration value="The Bahamas"/>
          <xsd:enumeration value="The Netherlands"/>
          <xsd:enumeration value="Togo"/>
          <xsd:enumeration value="Trinidad and Tobago"/>
          <xsd:enumeration value="Tunisia"/>
          <xsd:enumeration value="Turkey"/>
          <xsd:enumeration value="Turkmenistan"/>
          <xsd:enumeration value="Uganda"/>
          <xsd:enumeration value="Ukraine"/>
          <xsd:enumeration value="United Arab Emirates"/>
          <xsd:enumeration value="United Kingdom"/>
          <xsd:enumeration value="United States"/>
          <xsd:enumeration value="Uruguay"/>
          <xsd:enumeration value="Uzbekistan"/>
          <xsd:enumeration value="Venezuela"/>
          <xsd:enumeration value="Vietnam"/>
          <xsd:enumeration value="Yemen"/>
          <xsd:enumeration value="Zambia"/>
          <xsd:enumeration value="Zanzibar"/>
          <xsd:enumeration value="Zimbabwe"/>
        </xsd:restriction>
      </xsd:simpleType>
    </xsd:element>
    <xsd:element name="Subcategory" ma:index="12" nillable="true" ma:displayName="Sub category" ma:default="" ma:internalName="Subcategory">
      <xsd:simpleType>
        <xsd:restriction base="dms:Choice">
          <xsd:enumeration value="None"/>
        </xsd:restriction>
      </xsd:simpleType>
    </xsd:element>
    <xsd:element name="EcofysConfidential" ma:index="13" nillable="true" ma:displayName="Confidential" ma:default="0" ma:internalName="EcofysConfidential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1a9d701-4f4a-43a3-88a5-5d202ecff1c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4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5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7" nillable="true" ma:displayName="Tags" ma:internalName="MediaServiceAutoTags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D0424B8-95E8-4022-AA4A-1C0399C8CF87}">
  <ds:schemaRefs>
    <ds:schemaRef ds:uri="http://schemas.microsoft.com/office/2006/metadata/properties"/>
    <ds:schemaRef ds:uri="8d9b4ab4-65b9-4a08-baeb-312269dd31de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d1a9d701-4f4a-43a3-88a5-5d202ecff1c2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EE8D808E-E886-445B-A47D-ECED68E4B32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d9b4ab4-65b9-4a08-baeb-312269dd31de"/>
    <ds:schemaRef ds:uri="d1a9d701-4f4a-43a3-88a5-5d202ecff1c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5ED42BD-B63E-4F15-BBA7-3AD6658DE7C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4.3-Template_4.29.2016</Template>
  <TotalTime>17744</TotalTime>
  <Words>638</Words>
  <Application>Microsoft Office PowerPoint</Application>
  <PresentationFormat>Widescreen</PresentationFormat>
  <Paragraphs>83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4" baseType="lpstr">
      <vt:lpstr>Arial</vt:lpstr>
      <vt:lpstr>Arial Narrow</vt:lpstr>
      <vt:lpstr>Calibri</vt:lpstr>
      <vt:lpstr>Gill Sans MT</vt:lpstr>
      <vt:lpstr>Palatino Linotype</vt:lpstr>
      <vt:lpstr>4.3-Template_4.29.2016</vt:lpstr>
      <vt:lpstr>1_Presentation_Refresh 4:3</vt:lpstr>
      <vt:lpstr>2_4.3-Template_4.29.2016</vt:lpstr>
      <vt:lpstr>Navigant_Gray</vt:lpstr>
      <vt:lpstr>1_Navigant_Gray</vt:lpstr>
      <vt:lpstr>Presentation_Refresh 4:3</vt:lpstr>
      <vt:lpstr>2_Presentation_Refresh 4:3</vt:lpstr>
      <vt:lpstr>7_Navigant_Gray</vt:lpstr>
      <vt:lpstr>8_Navigant_Gray</vt:lpstr>
      <vt:lpstr>think-cell Slide</vt:lpstr>
      <vt:lpstr>Definition and advantages of RE competitive procurement</vt:lpstr>
      <vt:lpstr>3 ways to determine RE tariffs: competitive procurement, negotiated procurement, admin. FITs</vt:lpstr>
      <vt:lpstr>Admin. feed-in tariffs provide high certainty for producers, but little volume control and price competition</vt:lpstr>
      <vt:lpstr>Negotiated procurement provides greater flexibility, but are less scalable and transparent</vt:lpstr>
      <vt:lpstr>Competitive procurement provides strong volume control, price pressure and scalability, but needs competition</vt:lpstr>
      <vt:lpstr>… is competitive procurement always the best fit?</vt:lpstr>
      <vt:lpstr>… can competitive procurement be implemented in small RE markets?</vt:lpstr>
      <vt:lpstr>Country examples show negotiated procurement can pose problems</vt:lpstr>
      <vt:lpstr>Why competitive procurement?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finitions and Advantages of Renewable Energy Competitive Procurement</dc:title>
  <dc:subject>This presentation explores competitive procurement, negotiated procurement, and administrative feed-in tariffs as well as private sector investment for generation.</dc:subject>
  <dc:creator>Navigant--A Guidehouse Company</dc:creator>
  <cp:keywords>Renewable energy auctions, competitive procurement, tariffs, price, markets, electricity; negotiated procurement; private sector</cp:keywords>
  <cp:lastModifiedBy>Bradley, Bridget</cp:lastModifiedBy>
  <cp:revision>338</cp:revision>
  <dcterms:created xsi:type="dcterms:W3CDTF">2016-05-03T20:02:08Z</dcterms:created>
  <dcterms:modified xsi:type="dcterms:W3CDTF">2020-07-03T17:15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1C754EF69CC447396707CDFA155F78400BC181712BA935642AACDCDFA754D68E5</vt:lpwstr>
  </property>
</Properties>
</file>